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503_46BD88B8.xml" ContentType="application/vnd.ms-powerpoint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1" r:id="rId5"/>
  </p:sldMasterIdLst>
  <p:notesMasterIdLst>
    <p:notesMasterId r:id="rId26"/>
  </p:notesMasterIdLst>
  <p:sldIdLst>
    <p:sldId id="275" r:id="rId6"/>
    <p:sldId id="285" r:id="rId7"/>
    <p:sldId id="1305" r:id="rId8"/>
    <p:sldId id="1307" r:id="rId9"/>
    <p:sldId id="1283" r:id="rId10"/>
    <p:sldId id="1302" r:id="rId11"/>
    <p:sldId id="1308" r:id="rId12"/>
    <p:sldId id="1310" r:id="rId13"/>
    <p:sldId id="293" r:id="rId14"/>
    <p:sldId id="303" r:id="rId15"/>
    <p:sldId id="1241" r:id="rId16"/>
    <p:sldId id="267" r:id="rId17"/>
    <p:sldId id="266" r:id="rId18"/>
    <p:sldId id="265" r:id="rId19"/>
    <p:sldId id="264" r:id="rId20"/>
    <p:sldId id="1309" r:id="rId21"/>
    <p:sldId id="1299" r:id="rId22"/>
    <p:sldId id="1306" r:id="rId23"/>
    <p:sldId id="1296" r:id="rId24"/>
    <p:sldId id="286" r:id="rId25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7F554D0-CE02-BDA8-B956-2EED2EE0704A}" name="Dawid Hoinkis" initials="DH" userId="S::dawid.hoinkis@mistia.org.pl::93b1a48e-0d82-4a93-ac99-9c827b0a53c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0" d="100"/>
          <a:sy n="40" d="100"/>
        </p:scale>
        <p:origin x="754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omments/modernComment_503_46BD88B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B0B49B6-1812-4313-AA94-F2D204BEF330}" authorId="{47F554D0-CE02-BDA8-B956-2EED2EE0704A}" created="2024-02-04T13:31:40.13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186826424" sldId="1283"/>
      <ac:spMk id="3" creationId="{00000000-0000-0000-0000-000000000000}"/>
      <ac:txMk cp="287" len="9">
        <ac:context len="685" hash="1306985490"/>
      </ac:txMk>
    </ac:txMkLst>
    <p188:pos x="6369181" y="3809898"/>
    <p188:txBody>
      <a:bodyPr/>
      <a:lstStyle/>
      <a:p>
        <a:r>
          <a:rPr lang="pl-PL"/>
          <a:t>2027 czy 2030?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9211420-1CBF-4A5D-A577-4D913F7EA6F2}" type="doc">
      <dgm:prSet loTypeId="urn:microsoft.com/office/officeart/2005/8/layout/arrow3" loCatId="relationship" qsTypeId="urn:microsoft.com/office/officeart/2005/8/quickstyle/simple1" qsCatId="simple" csTypeId="urn:microsoft.com/office/officeart/2005/8/colors/colorful1#3" csCatId="colorful" phldr="1"/>
      <dgm:spPr/>
      <dgm:t>
        <a:bodyPr/>
        <a:lstStyle/>
        <a:p>
          <a:endParaRPr lang="pl-PL"/>
        </a:p>
      </dgm:t>
    </dgm:pt>
    <dgm:pt modelId="{56FED340-E5AB-4794-91F6-62538D0409E7}">
      <dgm:prSet phldrT="[Tekst]"/>
      <dgm:spPr/>
      <dgm:t>
        <a:bodyPr/>
        <a:lstStyle/>
        <a:p>
          <a:r>
            <a:rPr lang="uk-UA" dirty="0" err="1">
              <a:latin typeface="Candara" charset="0"/>
              <a:ea typeface="Candara" charset="0"/>
              <a:cs typeface="Candara" charset="0"/>
            </a:rPr>
            <a:t>Модерування</a:t>
          </a:r>
          <a:r>
            <a:rPr lang="uk-UA" dirty="0">
              <a:latin typeface="Candara" charset="0"/>
              <a:ea typeface="Candara" charset="0"/>
              <a:cs typeface="Candara" charset="0"/>
            </a:rPr>
            <a:t> процесу</a:t>
          </a:r>
          <a:r>
            <a:rPr lang="pl-PL" dirty="0">
              <a:latin typeface="Candara" charset="0"/>
              <a:ea typeface="Candara" charset="0"/>
              <a:cs typeface="Candara" charset="0"/>
            </a:rPr>
            <a:t>, </a:t>
          </a:r>
          <a:r>
            <a:rPr lang="uk-UA" dirty="0">
              <a:latin typeface="Candara" charset="0"/>
              <a:ea typeface="Candara" charset="0"/>
              <a:cs typeface="Candara" charset="0"/>
            </a:rPr>
            <a:t>об’єктивізм</a:t>
          </a:r>
          <a:endParaRPr lang="pl-PL" dirty="0">
            <a:latin typeface="Candara" charset="0"/>
            <a:ea typeface="Candara" charset="0"/>
            <a:cs typeface="Candara" charset="0"/>
          </a:endParaRPr>
        </a:p>
      </dgm:t>
    </dgm:pt>
    <dgm:pt modelId="{24BE3F79-07F6-4501-A3E4-26CF5708D88E}" type="parTrans" cxnId="{6C5BDFA0-8CAE-4637-AC0E-E5E19CBA7D7A}">
      <dgm:prSet/>
      <dgm:spPr/>
      <dgm:t>
        <a:bodyPr/>
        <a:lstStyle/>
        <a:p>
          <a:endParaRPr lang="pl-PL">
            <a:latin typeface="Candara" charset="0"/>
            <a:ea typeface="Candara" charset="0"/>
            <a:cs typeface="Candara" charset="0"/>
          </a:endParaRPr>
        </a:p>
      </dgm:t>
    </dgm:pt>
    <dgm:pt modelId="{79FCE286-F5DA-45C2-AFCF-0E9CBA6BC451}" type="sibTrans" cxnId="{6C5BDFA0-8CAE-4637-AC0E-E5E19CBA7D7A}">
      <dgm:prSet/>
      <dgm:spPr/>
      <dgm:t>
        <a:bodyPr/>
        <a:lstStyle/>
        <a:p>
          <a:endParaRPr lang="pl-PL">
            <a:latin typeface="Candara" charset="0"/>
            <a:ea typeface="Candara" charset="0"/>
            <a:cs typeface="Candara" charset="0"/>
          </a:endParaRPr>
        </a:p>
      </dgm:t>
    </dgm:pt>
    <dgm:pt modelId="{0B42876C-2DAC-4147-9B45-D74922E84198}">
      <dgm:prSet phldrT="[Tekst]"/>
      <dgm:spPr/>
      <dgm:t>
        <a:bodyPr/>
        <a:lstStyle/>
        <a:p>
          <a:r>
            <a:rPr lang="uk-UA" dirty="0">
              <a:latin typeface="Candara" charset="0"/>
              <a:ea typeface="Candara" charset="0"/>
              <a:cs typeface="Candara" charset="0"/>
            </a:rPr>
            <a:t>Надання знань та методична підтримка</a:t>
          </a:r>
          <a:endParaRPr lang="pl-PL" dirty="0">
            <a:latin typeface="Candara" charset="0"/>
            <a:ea typeface="Candara" charset="0"/>
            <a:cs typeface="Candara" charset="0"/>
          </a:endParaRPr>
        </a:p>
      </dgm:t>
    </dgm:pt>
    <dgm:pt modelId="{1A3A6B9D-8336-4D00-A150-942CED239F6D}" type="parTrans" cxnId="{F7970820-B4BD-4390-B377-AA431773DF18}">
      <dgm:prSet/>
      <dgm:spPr/>
      <dgm:t>
        <a:bodyPr/>
        <a:lstStyle/>
        <a:p>
          <a:endParaRPr lang="pl-PL">
            <a:latin typeface="Candara" charset="0"/>
            <a:ea typeface="Candara" charset="0"/>
            <a:cs typeface="Candara" charset="0"/>
          </a:endParaRPr>
        </a:p>
      </dgm:t>
    </dgm:pt>
    <dgm:pt modelId="{113C8FB1-068B-4E64-A41A-A2FEBC69C115}" type="sibTrans" cxnId="{F7970820-B4BD-4390-B377-AA431773DF18}">
      <dgm:prSet/>
      <dgm:spPr/>
      <dgm:t>
        <a:bodyPr/>
        <a:lstStyle/>
        <a:p>
          <a:endParaRPr lang="pl-PL">
            <a:latin typeface="Candara" charset="0"/>
            <a:ea typeface="Candara" charset="0"/>
            <a:cs typeface="Candara" charset="0"/>
          </a:endParaRPr>
        </a:p>
      </dgm:t>
    </dgm:pt>
    <dgm:pt modelId="{2F45BF68-91CB-44D1-B153-E53D39BE0596}" type="pres">
      <dgm:prSet presAssocID="{39211420-1CBF-4A5D-A577-4D913F7EA6F2}" presName="compositeShape" presStyleCnt="0">
        <dgm:presLayoutVars>
          <dgm:chMax val="2"/>
          <dgm:dir/>
          <dgm:resizeHandles val="exact"/>
        </dgm:presLayoutVars>
      </dgm:prSet>
      <dgm:spPr/>
    </dgm:pt>
    <dgm:pt modelId="{F81237A4-CC5E-4FE5-8243-8C5BB05739C0}" type="pres">
      <dgm:prSet presAssocID="{39211420-1CBF-4A5D-A577-4D913F7EA6F2}" presName="divider" presStyleLbl="fgShp" presStyleIdx="0" presStyleCnt="1"/>
      <dgm:spPr>
        <a:solidFill>
          <a:schemeClr val="tx2"/>
        </a:solidFill>
      </dgm:spPr>
    </dgm:pt>
    <dgm:pt modelId="{BB93D0A4-21E1-4B82-A34D-12456B7ADC46}" type="pres">
      <dgm:prSet presAssocID="{56FED340-E5AB-4794-91F6-62538D0409E7}" presName="downArrow" presStyleLbl="node1" presStyleIdx="0" presStyleCnt="2"/>
      <dgm:spPr/>
    </dgm:pt>
    <dgm:pt modelId="{DC2E6959-D642-4AC1-A172-1762F20706CD}" type="pres">
      <dgm:prSet presAssocID="{56FED340-E5AB-4794-91F6-62538D0409E7}" presName="downArrowText" presStyleLbl="revTx" presStyleIdx="0" presStyleCnt="2">
        <dgm:presLayoutVars>
          <dgm:bulletEnabled val="1"/>
        </dgm:presLayoutVars>
      </dgm:prSet>
      <dgm:spPr/>
    </dgm:pt>
    <dgm:pt modelId="{0EB34478-ADD9-4138-A361-4781139D9F7B}" type="pres">
      <dgm:prSet presAssocID="{0B42876C-2DAC-4147-9B45-D74922E84198}" presName="upArrow" presStyleLbl="node1" presStyleIdx="1" presStyleCnt="2"/>
      <dgm:spPr/>
    </dgm:pt>
    <dgm:pt modelId="{73FCA0B8-4128-458B-A79A-037F15802E56}" type="pres">
      <dgm:prSet presAssocID="{0B42876C-2DAC-4147-9B45-D74922E84198}" presName="upArrowText" presStyleLbl="revTx" presStyleIdx="1" presStyleCnt="2">
        <dgm:presLayoutVars>
          <dgm:bulletEnabled val="1"/>
        </dgm:presLayoutVars>
      </dgm:prSet>
      <dgm:spPr/>
    </dgm:pt>
  </dgm:ptLst>
  <dgm:cxnLst>
    <dgm:cxn modelId="{F7970820-B4BD-4390-B377-AA431773DF18}" srcId="{39211420-1CBF-4A5D-A577-4D913F7EA6F2}" destId="{0B42876C-2DAC-4147-9B45-D74922E84198}" srcOrd="1" destOrd="0" parTransId="{1A3A6B9D-8336-4D00-A150-942CED239F6D}" sibTransId="{113C8FB1-068B-4E64-A41A-A2FEBC69C115}"/>
    <dgm:cxn modelId="{33745D20-DAFD-435F-B722-9F8590E8224F}" type="presOf" srcId="{39211420-1CBF-4A5D-A577-4D913F7EA6F2}" destId="{2F45BF68-91CB-44D1-B153-E53D39BE0596}" srcOrd="0" destOrd="0" presId="urn:microsoft.com/office/officeart/2005/8/layout/arrow3"/>
    <dgm:cxn modelId="{07805664-E9A9-41FE-93B4-7219F9A3C3E7}" type="presOf" srcId="{0B42876C-2DAC-4147-9B45-D74922E84198}" destId="{73FCA0B8-4128-458B-A79A-037F15802E56}" srcOrd="0" destOrd="0" presId="urn:microsoft.com/office/officeart/2005/8/layout/arrow3"/>
    <dgm:cxn modelId="{6C5BDFA0-8CAE-4637-AC0E-E5E19CBA7D7A}" srcId="{39211420-1CBF-4A5D-A577-4D913F7EA6F2}" destId="{56FED340-E5AB-4794-91F6-62538D0409E7}" srcOrd="0" destOrd="0" parTransId="{24BE3F79-07F6-4501-A3E4-26CF5708D88E}" sibTransId="{79FCE286-F5DA-45C2-AFCF-0E9CBA6BC451}"/>
    <dgm:cxn modelId="{4EEEC4C4-23CC-49E0-A085-211FC5C6B44D}" type="presOf" srcId="{56FED340-E5AB-4794-91F6-62538D0409E7}" destId="{DC2E6959-D642-4AC1-A172-1762F20706CD}" srcOrd="0" destOrd="0" presId="urn:microsoft.com/office/officeart/2005/8/layout/arrow3"/>
    <dgm:cxn modelId="{470C507F-271E-40F4-9BAA-B3AB8BAC1A13}" type="presParOf" srcId="{2F45BF68-91CB-44D1-B153-E53D39BE0596}" destId="{F81237A4-CC5E-4FE5-8243-8C5BB05739C0}" srcOrd="0" destOrd="0" presId="urn:microsoft.com/office/officeart/2005/8/layout/arrow3"/>
    <dgm:cxn modelId="{591FF952-CF9E-4F80-B9B7-E3BCC3B5108D}" type="presParOf" srcId="{2F45BF68-91CB-44D1-B153-E53D39BE0596}" destId="{BB93D0A4-21E1-4B82-A34D-12456B7ADC46}" srcOrd="1" destOrd="0" presId="urn:microsoft.com/office/officeart/2005/8/layout/arrow3"/>
    <dgm:cxn modelId="{C7162705-9721-4601-BBF3-CC3446E6F6C4}" type="presParOf" srcId="{2F45BF68-91CB-44D1-B153-E53D39BE0596}" destId="{DC2E6959-D642-4AC1-A172-1762F20706CD}" srcOrd="2" destOrd="0" presId="urn:microsoft.com/office/officeart/2005/8/layout/arrow3"/>
    <dgm:cxn modelId="{946399A8-F980-4F8B-974B-1E8AAE7A3F7F}" type="presParOf" srcId="{2F45BF68-91CB-44D1-B153-E53D39BE0596}" destId="{0EB34478-ADD9-4138-A361-4781139D9F7B}" srcOrd="3" destOrd="0" presId="urn:microsoft.com/office/officeart/2005/8/layout/arrow3"/>
    <dgm:cxn modelId="{55AE5217-EC61-495C-8242-40C320A83E58}" type="presParOf" srcId="{2F45BF68-91CB-44D1-B153-E53D39BE0596}" destId="{73FCA0B8-4128-458B-A79A-037F15802E56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1237A4-CC5E-4FE5-8243-8C5BB05739C0}">
      <dsp:nvSpPr>
        <dsp:cNvPr id="0" name=""/>
        <dsp:cNvSpPr/>
      </dsp:nvSpPr>
      <dsp:spPr>
        <a:xfrm rot="21300000">
          <a:off x="52172" y="3747206"/>
          <a:ext cx="16897126" cy="1934975"/>
        </a:xfrm>
        <a:prstGeom prst="mathMinus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93D0A4-21E1-4B82-A34D-12456B7ADC46}">
      <dsp:nvSpPr>
        <dsp:cNvPr id="0" name=""/>
        <dsp:cNvSpPr/>
      </dsp:nvSpPr>
      <dsp:spPr>
        <a:xfrm>
          <a:off x="2040176" y="471469"/>
          <a:ext cx="5100441" cy="3771755"/>
        </a:xfrm>
        <a:prstGeom prst="downArrow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2E6959-D642-4AC1-A172-1762F20706CD}">
      <dsp:nvSpPr>
        <dsp:cNvPr id="0" name=""/>
        <dsp:cNvSpPr/>
      </dsp:nvSpPr>
      <dsp:spPr>
        <a:xfrm>
          <a:off x="9010780" y="0"/>
          <a:ext cx="5440471" cy="396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5384" tIns="405384" rIns="405384" bIns="405384" numCol="1" spcCol="1270" anchor="ctr" anchorCtr="0">
          <a:noAutofit/>
        </a:bodyPr>
        <a:lstStyle/>
        <a:p>
          <a:pPr marL="0" lvl="0" indent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5700" kern="1200" dirty="0" err="1">
              <a:latin typeface="Candara" charset="0"/>
              <a:ea typeface="Candara" charset="0"/>
              <a:cs typeface="Candara" charset="0"/>
            </a:rPr>
            <a:t>Модерування</a:t>
          </a:r>
          <a:r>
            <a:rPr lang="uk-UA" sz="5700" kern="1200" dirty="0">
              <a:latin typeface="Candara" charset="0"/>
              <a:ea typeface="Candara" charset="0"/>
              <a:cs typeface="Candara" charset="0"/>
            </a:rPr>
            <a:t> процесу</a:t>
          </a:r>
          <a:r>
            <a:rPr lang="pl-PL" sz="5700" kern="1200" dirty="0">
              <a:latin typeface="Candara" charset="0"/>
              <a:ea typeface="Candara" charset="0"/>
              <a:cs typeface="Candara" charset="0"/>
            </a:rPr>
            <a:t>, </a:t>
          </a:r>
          <a:r>
            <a:rPr lang="uk-UA" sz="5700" kern="1200" dirty="0">
              <a:latin typeface="Candara" charset="0"/>
              <a:ea typeface="Candara" charset="0"/>
              <a:cs typeface="Candara" charset="0"/>
            </a:rPr>
            <a:t>об’єктивізм</a:t>
          </a:r>
          <a:endParaRPr lang="pl-PL" sz="5700" kern="1200" dirty="0">
            <a:latin typeface="Candara" charset="0"/>
            <a:ea typeface="Candara" charset="0"/>
            <a:cs typeface="Candara" charset="0"/>
          </a:endParaRPr>
        </a:p>
      </dsp:txBody>
      <dsp:txXfrm>
        <a:off x="9010780" y="0"/>
        <a:ext cx="5440471" cy="3960342"/>
      </dsp:txXfrm>
    </dsp:sp>
    <dsp:sp modelId="{0EB34478-ADD9-4138-A361-4781139D9F7B}">
      <dsp:nvSpPr>
        <dsp:cNvPr id="0" name=""/>
        <dsp:cNvSpPr/>
      </dsp:nvSpPr>
      <dsp:spPr>
        <a:xfrm>
          <a:off x="9860853" y="5186163"/>
          <a:ext cx="5100441" cy="3771755"/>
        </a:xfrm>
        <a:prstGeom prst="upArrow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FCA0B8-4128-458B-A79A-037F15802E56}">
      <dsp:nvSpPr>
        <dsp:cNvPr id="0" name=""/>
        <dsp:cNvSpPr/>
      </dsp:nvSpPr>
      <dsp:spPr>
        <a:xfrm>
          <a:off x="2550220" y="5469045"/>
          <a:ext cx="5440471" cy="396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5384" tIns="405384" rIns="405384" bIns="405384" numCol="1" spcCol="1270" anchor="ctr" anchorCtr="0">
          <a:noAutofit/>
        </a:bodyPr>
        <a:lstStyle/>
        <a:p>
          <a:pPr marL="0" lvl="0" indent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5700" kern="1200" dirty="0">
              <a:latin typeface="Candara" charset="0"/>
              <a:ea typeface="Candara" charset="0"/>
              <a:cs typeface="Candara" charset="0"/>
            </a:rPr>
            <a:t>Надання знань та методична підтримка</a:t>
          </a:r>
          <a:endParaRPr lang="pl-PL" sz="5700" kern="1200" dirty="0">
            <a:latin typeface="Candara" charset="0"/>
            <a:ea typeface="Candara" charset="0"/>
            <a:cs typeface="Candara" charset="0"/>
          </a:endParaRPr>
        </a:p>
      </dsp:txBody>
      <dsp:txXfrm>
        <a:off x="2550220" y="5469045"/>
        <a:ext cx="5440471" cy="39603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5BDE7-3FB4-4BD2-803E-51C7E84574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843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981D43-A15A-4834-BAB6-070CE2788A05}" type="slidenum">
              <a:rPr lang="pl-PL" smtClean="0"/>
              <a:pPr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79677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F7E417-564E-7412-0123-ADE40E776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9241FBF-5767-3396-3762-07B0B9DE9C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0F95B3B0-5EF8-7F80-9697-CF4F99708A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uk-UA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C89823A-0D9B-B29E-C40A-10F484E9B5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981D43-A15A-4834-BAB6-070CE2788A05}" type="slidenum">
              <a:rPr lang="pl-PL" smtClean="0"/>
              <a:pPr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39424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981D43-A15A-4834-BAB6-070CE2788A05}" type="slidenum">
              <a:rPr lang="pl-PL" smtClean="0"/>
              <a:pPr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795685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981D43-A15A-4834-BAB6-070CE2788A05}" type="slidenum">
              <a:rPr lang="pl-PL" smtClean="0"/>
              <a:pPr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372347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BE2DC8-C273-EE98-815A-B79E24746B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79D46EC-A059-BAC0-F20E-244FEC3B35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DA8584A0-D783-F035-A34C-40D30D2B72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uk-UA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2C21FEF-7C0E-AD5F-735D-F303E354FD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981D43-A15A-4834-BAB6-070CE2788A05}" type="slidenum">
              <a:rPr lang="pl-PL" smtClean="0"/>
              <a:pPr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090909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F7E417-564E-7412-0123-ADE40E776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9241FBF-5767-3396-3762-07B0B9DE9C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0F95B3B0-5EF8-7F80-9697-CF4F99708A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uk-UA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C89823A-0D9B-B29E-C40A-10F484E9B5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981D43-A15A-4834-BAB6-070CE2788A05}" type="slidenum">
              <a:rPr lang="pl-PL" smtClean="0"/>
              <a:pPr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840554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48151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981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0690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4751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0272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5673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5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336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5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9572" y="3617640"/>
            <a:ext cx="15169812" cy="7736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200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8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uk-UA"/>
              <a:t>Your text here</a:t>
            </a:r>
          </a:p>
          <a:p>
            <a:pPr lvl="1"/>
            <a:r>
              <a:rPr lang="uk-UA"/>
              <a:t>Text level 1</a:t>
            </a:r>
          </a:p>
          <a:p>
            <a:pPr lvl="2"/>
            <a:r>
              <a:rPr lang="uk-UA"/>
              <a:t>Text level 2</a:t>
            </a:r>
            <a:endParaRPr lang="uk-U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573" y="2715357"/>
            <a:ext cx="4177920" cy="600164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uk-UA"/>
              <a:t>Subtitle of the slide</a:t>
            </a:r>
            <a:endParaRPr lang="uk-UA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73" y="11946220"/>
            <a:ext cx="22926834" cy="313932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1600" b="0" i="1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buNone/>
              <a:defRPr/>
            </a:lvl2pPr>
            <a:lvl3pPr marL="1085850" indent="0">
              <a:buNone/>
              <a:defRPr/>
            </a:lvl3pPr>
            <a:lvl4pPr marL="1517650" indent="0">
              <a:buNone/>
              <a:defRPr/>
            </a:lvl4pPr>
            <a:lvl5pPr marL="2066926" indent="0">
              <a:buNone/>
              <a:defRPr/>
            </a:lvl5pPr>
          </a:lstStyle>
          <a:p>
            <a:pPr lvl="0"/>
            <a:r>
              <a:rPr lang="uk-UA"/>
              <a:t>Sources:</a:t>
            </a:r>
            <a:endParaRPr lang="uk-UA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765865" y="12438469"/>
            <a:ext cx="720074" cy="730250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uk-UA" smtClean="0"/>
              <a:pPr/>
              <a:t>‹№›</a:t>
            </a:fld>
            <a:r>
              <a:rPr lang="uk-UA"/>
              <a:t> ‒ </a:t>
            </a:r>
            <a:endParaRPr lang="uk-UA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/>
              <a:t>TITLE OF THE SLIDE</a:t>
            </a:r>
            <a:endParaRPr lang="uk-UA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6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611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6139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4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866653" y="13081000"/>
            <a:ext cx="637995" cy="47192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6682475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677" y="2057467"/>
            <a:ext cx="22850539" cy="11329260"/>
          </a:xfrm>
        </p:spPr>
        <p:txBody>
          <a:bodyPr>
            <a:normAutofit/>
          </a:bodyPr>
          <a:lstStyle>
            <a:lvl1pPr>
              <a:defRPr sz="2910"/>
            </a:lvl1pPr>
            <a:lvl2pPr>
              <a:defRPr sz="2645"/>
            </a:lvl2pPr>
            <a:lvl3pPr>
              <a:defRPr sz="2645"/>
            </a:lvl3pPr>
            <a:lvl4pPr>
              <a:defRPr sz="2645"/>
            </a:lvl4pPr>
            <a:lvl5pPr>
              <a:defRPr sz="2645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3551040" y="777907"/>
            <a:ext cx="16513835" cy="895518"/>
          </a:xfrm>
        </p:spPr>
        <p:txBody>
          <a:bodyPr/>
          <a:lstStyle>
            <a:lvl1pPr>
              <a:defRPr sz="4233"/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>
          <a:xfrm>
            <a:off x="11866653" y="13081000"/>
            <a:ext cx="637995" cy="471924"/>
          </a:xfrm>
        </p:spPr>
        <p:txBody>
          <a:bodyPr/>
          <a:lstStyle/>
          <a:p>
            <a:fld id="{96652B35-718D-4E28-AFEB-B694A3B357E8}" type="slidenum">
              <a:rPr kumimoji="0" lang="en-US" smtClean="0"/>
              <a:pPr/>
              <a:t>‹№›</a:t>
            </a:fld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0838299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5631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5233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934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608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№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3" r:id="rId3"/>
    <p:sldLayoutId id="2147483676" r:id="rId4"/>
    <p:sldLayoutId id="2147483677" r:id="rId5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1D1A8-38EA-4F3B-B480-932D65B38A0A}" type="datetimeFigureOut">
              <a:rPr lang="en-US" smtClean="0"/>
              <a:t>2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F6A7E5-3154-4AC8-AAD7-5313954CD7D1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0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2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hyperlink" Target="http://ucmc.org.ua/uk/decentralization/#news" TargetMode="External"/><Relationship Id="rId7" Type="http://schemas.openxmlformats.org/officeDocument/2006/relationships/image" Target="../media/image13.png"/><Relationship Id="rId2" Type="http://schemas.openxmlformats.org/officeDocument/2006/relationships/hyperlink" Target="https://www.facebook.com/decentralizationisdobre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hyperlink" Target="https://www.youtube.com/channel/UCnktaySHbi92021PSzOgeBA/videos" TargetMode="External"/><Relationship Id="rId4" Type="http://schemas.openxmlformats.org/officeDocument/2006/relationships/hyperlink" Target="https://decentralization.gov.ua/news/tag/ekspertno-dobr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503_46BD88B8.xm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77214" y="1353588"/>
            <a:ext cx="14789064" cy="1913916"/>
          </a:xfrm>
        </p:spPr>
        <p:txBody>
          <a:bodyPr/>
          <a:lstStyle/>
          <a:p>
            <a:r>
              <a:rPr lang="uk-UA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8000" y="3878925"/>
            <a:ext cx="18288000" cy="1288734"/>
          </a:xfrm>
        </p:spPr>
        <p:txBody>
          <a:bodyPr>
            <a:normAutofit/>
          </a:bodyPr>
          <a:lstStyle/>
          <a:p>
            <a:r>
              <a:rPr lang="uk-UA" sz="8000" b="1" dirty="0">
                <a:solidFill>
                  <a:srgbClr val="002060"/>
                </a:solidFill>
                <a:cs typeface="Arial" panose="020B0604020202020204" pitchFamily="34" charset="0"/>
              </a:rPr>
              <a:t>ПРОГРАМА </a:t>
            </a:r>
            <a:r>
              <a:rPr lang="en-US" sz="8000" b="1" dirty="0">
                <a:solidFill>
                  <a:srgbClr val="002060"/>
                </a:solidFill>
                <a:cs typeface="Arial" panose="020B0604020202020204" pitchFamily="34" charset="0"/>
              </a:rPr>
              <a:t>USAID DOBRE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10546282"/>
            <a:ext cx="3227289" cy="230016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0801" y="11448103"/>
            <a:ext cx="5543566" cy="13095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>
            <a:cxnSpLocks/>
          </p:cNvCxnSpPr>
          <p:nvPr/>
        </p:nvCxnSpPr>
        <p:spPr>
          <a:xfrm>
            <a:off x="5594959" y="12757676"/>
            <a:ext cx="18789042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816437" y="11524975"/>
            <a:ext cx="9559636" cy="11083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l-PL" sz="4000" dirty="0">
                <a:solidFill>
                  <a:schemeClr val="tx1"/>
                </a:solidFill>
              </a:rPr>
              <a:t>9.02.2024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465428"/>
            <a:ext cx="7993253" cy="309338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7346" y="509235"/>
            <a:ext cx="5754588" cy="287729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F559E6E9-1B44-41CC-B25F-73A13E9734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14132" y="671629"/>
            <a:ext cx="4715228" cy="2552509"/>
          </a:xfrm>
          <a:prstGeom prst="rect">
            <a:avLst/>
          </a:prstGeo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575BEB5C-62B7-4BB2-B7F0-F163A48A5501}"/>
              </a:ext>
            </a:extLst>
          </p:cNvPr>
          <p:cNvSpPr txBox="1"/>
          <p:nvPr/>
        </p:nvSpPr>
        <p:spPr>
          <a:xfrm>
            <a:off x="727364" y="5553332"/>
            <a:ext cx="22672963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Фонд розвитку місцевої демократії ім. Єжи Регульского</a:t>
            </a:r>
            <a:r>
              <a:rPr lang="pl-PL" sz="5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4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az-Cyrl-AZ" sz="4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льща</a:t>
            </a:r>
            <a:r>
              <a:rPr lang="pl-PL" sz="4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endParaRPr lang="pl-PL" sz="5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8000" kern="12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СТУП ДО СТРАТЕГІЧНОГО ПЛАНУВАННЯ</a:t>
            </a:r>
            <a:endParaRPr lang="pl-PL" sz="6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4292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4661" y="1710663"/>
            <a:ext cx="20863775" cy="1221198"/>
          </a:xfrm>
        </p:spPr>
        <p:txBody>
          <a:bodyPr>
            <a:normAutofit/>
          </a:bodyPr>
          <a:lstStyle/>
          <a:p>
            <a:pPr algn="ctr"/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ЕТАПИ ПРОЦЕСУ СТРАТЕГІЧНОГО УПРАВЛІННЯ</a:t>
            </a:r>
            <a:endParaRPr lang="uk-UA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uk-UA" dirty="0"/>
          </a:p>
        </p:txBody>
      </p:sp>
      <p:grpSp>
        <p:nvGrpSpPr>
          <p:cNvPr id="5" name="Полотно 39"/>
          <p:cNvGrpSpPr>
            <a:grpSpLocks/>
          </p:cNvGrpSpPr>
          <p:nvPr/>
        </p:nvGrpSpPr>
        <p:grpSpPr bwMode="auto">
          <a:xfrm>
            <a:off x="881832" y="3143394"/>
            <a:ext cx="22327083" cy="9716066"/>
            <a:chOff x="2126" y="850"/>
            <a:chExt cx="8715" cy="3855"/>
          </a:xfrm>
        </p:grpSpPr>
        <p:sp>
          <p:nvSpPr>
            <p:cNvPr id="10" name="AutoShape 20"/>
            <p:cNvSpPr>
              <a:spLocks noChangeAspect="1" noChangeArrowheads="1"/>
            </p:cNvSpPr>
            <p:nvPr/>
          </p:nvSpPr>
          <p:spPr bwMode="auto">
            <a:xfrm>
              <a:off x="2126" y="850"/>
              <a:ext cx="8715" cy="3855"/>
            </a:xfrm>
            <a:prstGeom prst="rect">
              <a:avLst/>
            </a:prstGeom>
            <a:solidFill>
              <a:srgbClr val="F2F2F2"/>
            </a:solidFill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11" name="AutoShape 2"/>
            <p:cNvSpPr>
              <a:spLocks noChangeArrowheads="1"/>
            </p:cNvSpPr>
            <p:nvPr/>
          </p:nvSpPr>
          <p:spPr bwMode="auto">
            <a:xfrm>
              <a:off x="2440" y="1030"/>
              <a:ext cx="2052" cy="958"/>
            </a:xfrm>
            <a:prstGeom prst="homePlate">
              <a:avLst>
                <a:gd name="adj" fmla="val 42562"/>
              </a:avLst>
            </a:prstGeom>
            <a:solidFill>
              <a:srgbClr val="31849B"/>
            </a:solidFill>
            <a:ln w="381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181424" tIns="90712" rIns="181424" bIns="90712" numCol="1" anchor="ctr" anchorCtr="0" compatLnSpc="1">
              <a:prstTxWarp prst="textNoShape">
                <a:avLst/>
              </a:prstTxWarp>
            </a:bodyPr>
            <a:lstStyle/>
            <a:p>
              <a:pPr defTabSz="1814215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4762" dirty="0">
                  <a:solidFill>
                    <a:srgbClr val="FFFFFF"/>
                  </a:solidFill>
                  <a:latin typeface="Calibri" pitchFamily="34" charset="0"/>
                  <a:ea typeface="Times New Roman" pitchFamily="18" charset="0"/>
                  <a:cs typeface="Arial" pitchFamily="34" charset="0"/>
                </a:rPr>
                <a:t>Аналіз</a:t>
              </a:r>
              <a:endParaRPr lang="uk-UA" altLang="uk-UA" sz="6349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AutoShape 2"/>
            <p:cNvSpPr>
              <a:spLocks noChangeArrowheads="1"/>
            </p:cNvSpPr>
            <p:nvPr/>
          </p:nvSpPr>
          <p:spPr bwMode="auto">
            <a:xfrm>
              <a:off x="4586" y="1030"/>
              <a:ext cx="2907" cy="958"/>
            </a:xfrm>
            <a:prstGeom prst="homePlate">
              <a:avLst>
                <a:gd name="adj" fmla="val 60296"/>
              </a:avLst>
            </a:prstGeom>
            <a:solidFill>
              <a:srgbClr val="31849B"/>
            </a:solidFill>
            <a:ln w="381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181424" tIns="90712" rIns="181424" bIns="90712" numCol="1" anchor="ctr" anchorCtr="0" compatLnSpc="1">
              <a:prstTxWarp prst="textNoShape">
                <a:avLst/>
              </a:prstTxWarp>
            </a:bodyPr>
            <a:lstStyle/>
            <a:p>
              <a:pPr defTabSz="1814215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4762" dirty="0">
                  <a:solidFill>
                    <a:srgbClr val="FFFFFF"/>
                  </a:solidFill>
                  <a:latin typeface="Calibri" pitchFamily="34" charset="0"/>
                  <a:ea typeface="Times New Roman" pitchFamily="18" charset="0"/>
                  <a:cs typeface="Arial" pitchFamily="34" charset="0"/>
                </a:rPr>
                <a:t>Планування</a:t>
              </a:r>
              <a:endParaRPr lang="uk-UA" altLang="uk-UA" sz="6349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 Box 8"/>
            <p:cNvSpPr txBox="1">
              <a:spLocks noChangeArrowheads="1"/>
            </p:cNvSpPr>
            <p:nvPr/>
          </p:nvSpPr>
          <p:spPr bwMode="auto">
            <a:xfrm>
              <a:off x="2440" y="2146"/>
              <a:ext cx="1701" cy="16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pPr defTabSz="1814215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Дослідження та стратегічний аналіз середовища</a:t>
              </a:r>
              <a:endParaRPr lang="uk-UA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(СЕА, профіль)</a:t>
              </a:r>
              <a:endParaRPr lang="uk-UA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Соціологічні дослідження</a:t>
              </a:r>
              <a:endParaRPr lang="uk-UA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endParaRPr lang="uk-UA" altLang="uk-UA" sz="357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Text Box 9"/>
            <p:cNvSpPr txBox="1">
              <a:spLocks noChangeArrowheads="1"/>
            </p:cNvSpPr>
            <p:nvPr/>
          </p:nvSpPr>
          <p:spPr bwMode="auto">
            <a:xfrm>
              <a:off x="4492" y="2146"/>
              <a:ext cx="2512" cy="15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pPr defTabSz="1814215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Прогнози, моделювання сценаріїв</a:t>
              </a:r>
              <a:endParaRPr lang="uk-UA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Стратегічне бачення</a:t>
              </a:r>
              <a:endParaRPr lang="uk-UA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SWOT/</a:t>
              </a:r>
              <a:r>
                <a:rPr lang="en-US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TOWS- </a:t>
              </a: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аналіз</a:t>
              </a:r>
              <a:endParaRPr lang="en-US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ts val="1190"/>
                </a:spcAft>
              </a:pP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Стратегічний</a:t>
              </a:r>
              <a:r>
                <a:rPr lang="en-US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 </a:t>
              </a: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вибір</a:t>
              </a:r>
              <a:endParaRPr lang="uk-UA" altLang="uk-UA" sz="2778" dirty="0">
                <a:latin typeface="Arial" pitchFamily="34" charset="0"/>
                <a:ea typeface="Times New Roman" pitchFamily="18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ts val="1190"/>
                </a:spcAft>
              </a:pP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Плани</a:t>
              </a:r>
              <a:r>
                <a:rPr lang="en-US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 </a:t>
              </a: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дій</a:t>
              </a:r>
              <a:r>
                <a:rPr lang="en-US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 (</a:t>
              </a: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цілі</a:t>
              </a:r>
              <a:r>
                <a:rPr lang="en-US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, </a:t>
              </a:r>
              <a:endParaRPr lang="uk-UA" altLang="uk-UA" sz="2778" dirty="0">
                <a:latin typeface="Arial" pitchFamily="34" charset="0"/>
                <a:ea typeface="Times New Roman" pitchFamily="18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завдання</a:t>
              </a:r>
              <a:r>
                <a:rPr lang="en-US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)</a:t>
              </a:r>
              <a:endParaRPr lang="en-US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Проекти</a:t>
              </a:r>
              <a:r>
                <a:rPr lang="en-US" altLang="uk-UA" sz="396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 </a:t>
              </a: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та</a:t>
              </a:r>
              <a:r>
                <a:rPr lang="en-US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 </a:t>
              </a:r>
              <a:r>
                <a:rPr lang="en-US" altLang="uk-UA" sz="2778" dirty="0" err="1">
                  <a:latin typeface="Arial" pitchFamily="34" charset="0"/>
                  <a:ea typeface="Times New Roman" pitchFamily="18" charset="0"/>
                  <a:cs typeface="Arial" pitchFamily="34" charset="0"/>
                </a:rPr>
                <a:t>заходи</a:t>
              </a:r>
              <a:endParaRPr lang="en-US" altLang="uk-UA" sz="873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AutoShape 2"/>
            <p:cNvSpPr>
              <a:spLocks noChangeArrowheads="1"/>
            </p:cNvSpPr>
            <p:nvPr/>
          </p:nvSpPr>
          <p:spPr bwMode="auto">
            <a:xfrm>
              <a:off x="7570" y="1030"/>
              <a:ext cx="3021" cy="958"/>
            </a:xfrm>
            <a:prstGeom prst="homePlate">
              <a:avLst>
                <a:gd name="adj" fmla="val 75668"/>
              </a:avLst>
            </a:prstGeom>
            <a:solidFill>
              <a:srgbClr val="31849B"/>
            </a:solidFill>
            <a:ln w="381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181424" tIns="90712" rIns="181424" bIns="90712" numCol="1" anchor="ctr" anchorCtr="0" compatLnSpc="1">
              <a:prstTxWarp prst="textNoShape">
                <a:avLst/>
              </a:prstTxWarp>
            </a:bodyPr>
            <a:lstStyle/>
            <a:p>
              <a:pPr defTabSz="1814215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4762" dirty="0">
                  <a:solidFill>
                    <a:srgbClr val="FFFFFF"/>
                  </a:solidFill>
                  <a:latin typeface="Calibri" pitchFamily="34" charset="0"/>
                  <a:ea typeface="Times New Roman" pitchFamily="18" charset="0"/>
                  <a:cs typeface="Arial" pitchFamily="34" charset="0"/>
                </a:rPr>
                <a:t>Впровадження</a:t>
              </a:r>
              <a:endParaRPr lang="uk-UA" altLang="uk-UA" sz="6349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Line 9"/>
            <p:cNvSpPr>
              <a:spLocks noChangeShapeType="1"/>
            </p:cNvSpPr>
            <p:nvPr/>
          </p:nvSpPr>
          <p:spPr bwMode="auto">
            <a:xfrm>
              <a:off x="2269" y="1570"/>
              <a:ext cx="1" cy="301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17" name="Line 10"/>
            <p:cNvSpPr>
              <a:spLocks noChangeShapeType="1"/>
            </p:cNvSpPr>
            <p:nvPr/>
          </p:nvSpPr>
          <p:spPr bwMode="auto">
            <a:xfrm>
              <a:off x="2269" y="1570"/>
              <a:ext cx="171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2269" y="4585"/>
              <a:ext cx="835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19" name="Line 13"/>
            <p:cNvSpPr>
              <a:spLocks noChangeShapeType="1"/>
            </p:cNvSpPr>
            <p:nvPr/>
          </p:nvSpPr>
          <p:spPr bwMode="auto">
            <a:xfrm flipH="1">
              <a:off x="2455" y="3805"/>
              <a:ext cx="1758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20" name="Line 14"/>
            <p:cNvSpPr>
              <a:spLocks noChangeShapeType="1"/>
            </p:cNvSpPr>
            <p:nvPr/>
          </p:nvSpPr>
          <p:spPr bwMode="auto">
            <a:xfrm>
              <a:off x="4220" y="2110"/>
              <a:ext cx="6" cy="169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Dot"/>
              <a:round/>
              <a:headEnd type="triangle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21" name="Line 15"/>
            <p:cNvSpPr>
              <a:spLocks noChangeShapeType="1"/>
            </p:cNvSpPr>
            <p:nvPr/>
          </p:nvSpPr>
          <p:spPr bwMode="auto">
            <a:xfrm flipH="1">
              <a:off x="2425" y="4105"/>
              <a:ext cx="4617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22" name="Line 16"/>
            <p:cNvSpPr>
              <a:spLocks noChangeShapeType="1"/>
            </p:cNvSpPr>
            <p:nvPr/>
          </p:nvSpPr>
          <p:spPr bwMode="auto">
            <a:xfrm flipH="1">
              <a:off x="7043" y="2290"/>
              <a:ext cx="0" cy="181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23" name="Line 17"/>
            <p:cNvSpPr>
              <a:spLocks noChangeShapeType="1"/>
            </p:cNvSpPr>
            <p:nvPr/>
          </p:nvSpPr>
          <p:spPr bwMode="auto">
            <a:xfrm flipV="1">
              <a:off x="7042" y="2110"/>
              <a:ext cx="1" cy="12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24" name="Line 18"/>
            <p:cNvSpPr>
              <a:spLocks noChangeShapeType="1"/>
            </p:cNvSpPr>
            <p:nvPr/>
          </p:nvSpPr>
          <p:spPr bwMode="auto">
            <a:xfrm flipH="1">
              <a:off x="2440" y="4346"/>
              <a:ext cx="7657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25" name="Line 19"/>
            <p:cNvSpPr>
              <a:spLocks noChangeShapeType="1"/>
            </p:cNvSpPr>
            <p:nvPr/>
          </p:nvSpPr>
          <p:spPr bwMode="auto">
            <a:xfrm flipH="1">
              <a:off x="10097" y="2110"/>
              <a:ext cx="0" cy="223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Dot"/>
              <a:round/>
              <a:headEnd type="triangle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  <p:sp>
          <p:nvSpPr>
            <p:cNvPr id="26" name="Text Box 10"/>
            <p:cNvSpPr txBox="1">
              <a:spLocks noChangeArrowheads="1"/>
            </p:cNvSpPr>
            <p:nvPr/>
          </p:nvSpPr>
          <p:spPr bwMode="auto">
            <a:xfrm>
              <a:off x="7579" y="2140"/>
              <a:ext cx="2736" cy="1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pPr defTabSz="1814215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Громадське обговорення</a:t>
              </a:r>
              <a:endParaRPr lang="en-US" altLang="uk-UA" sz="2778" dirty="0">
                <a:latin typeface="Arial" pitchFamily="34" charset="0"/>
                <a:ea typeface="Times New Roman" pitchFamily="18" charset="0"/>
                <a:cs typeface="Arial" pitchFamily="34" charset="0"/>
              </a:endParaRPr>
            </a:p>
            <a:p>
              <a:pPr defTabSz="1814215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Стратегічна екологічна оцінка</a:t>
              </a: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Прийняття радою громади</a:t>
              </a: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endParaRPr lang="uk-UA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Структура управління</a:t>
              </a:r>
              <a:endParaRPr lang="uk-UA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Моніторинг та оцінка</a:t>
              </a:r>
              <a:endParaRPr lang="uk-UA" altLang="uk-UA" sz="2778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defTabSz="1814215" eaLnBrk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altLang="uk-UA" sz="2778" dirty="0">
                  <a:latin typeface="Arial" pitchFamily="34" charset="0"/>
                  <a:ea typeface="Times New Roman" pitchFamily="18" charset="0"/>
                  <a:cs typeface="Arial" pitchFamily="34" charset="0"/>
                </a:rPr>
                <a:t>Перегляд та коригування</a:t>
              </a:r>
              <a:endParaRPr lang="uk-UA" altLang="uk-UA" sz="873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Прямая соединительная линия 40"/>
            <p:cNvSpPr>
              <a:spLocks noChangeShapeType="1"/>
            </p:cNvSpPr>
            <p:nvPr/>
          </p:nvSpPr>
          <p:spPr bwMode="auto">
            <a:xfrm flipV="1">
              <a:off x="10621" y="1525"/>
              <a:ext cx="0" cy="306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81424" tIns="90712" rIns="181424" bIns="90712" numCol="1" anchor="t" anchorCtr="0" compatLnSpc="1">
              <a:prstTxWarp prst="textNoShape">
                <a:avLst/>
              </a:prstTxWarp>
            </a:bodyPr>
            <a:lstStyle/>
            <a:p>
              <a:endParaRPr lang="uk-UA" sz="2778"/>
            </a:p>
          </p:txBody>
        </p:sp>
      </p:grpSp>
      <p:pic>
        <p:nvPicPr>
          <p:cNvPr id="28" name="Рисунок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705" y="12811642"/>
            <a:ext cx="5644796" cy="499967"/>
          </a:xfrm>
          <a:prstGeom prst="rect">
            <a:avLst/>
          </a:prstGeom>
        </p:spPr>
      </p:pic>
      <p:sp>
        <p:nvSpPr>
          <p:cNvPr id="29" name="Google Shape;255;p3"/>
          <p:cNvSpPr txBox="1"/>
          <p:nvPr/>
        </p:nvSpPr>
        <p:spPr>
          <a:xfrm>
            <a:off x="8361935" y="12816193"/>
            <a:ext cx="7660130" cy="488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1859" tIns="120897" rIns="241859" bIns="120897" anchor="t" anchorCtr="0">
            <a:noAutofit/>
          </a:bodyPr>
          <a:lstStyle/>
          <a:p>
            <a:r>
              <a:rPr lang="en-US" sz="1587" b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РОЄКТ USAID «ГОВЕРЛА»</a:t>
            </a:r>
            <a:endParaRPr sz="7936" dirty="0"/>
          </a:p>
        </p:txBody>
      </p:sp>
      <p:pic>
        <p:nvPicPr>
          <p:cNvPr id="30" name="Obraz 1">
            <a:extLst>
              <a:ext uri="{FF2B5EF4-FFF2-40B4-BE49-F238E27FC236}">
                <a16:creationId xmlns:a16="http://schemas.microsoft.com/office/drawing/2014/main" id="{6B668040-EB10-40C4-A16B-A2148C9DCD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31" name="Obraz 2">
            <a:extLst>
              <a:ext uri="{FF2B5EF4-FFF2-40B4-BE49-F238E27FC236}">
                <a16:creationId xmlns:a16="http://schemas.microsoft.com/office/drawing/2014/main" id="{5178AF20-EE52-413A-B70D-BB83B8C043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32" name="Obraz 5">
            <a:extLst>
              <a:ext uri="{FF2B5EF4-FFF2-40B4-BE49-F238E27FC236}">
                <a16:creationId xmlns:a16="http://schemas.microsoft.com/office/drawing/2014/main" id="{DCD1A528-B07A-431D-92AD-BE55DBEFFD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28599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1333917" y="2112489"/>
            <a:ext cx="21335181" cy="10807984"/>
          </a:xfrm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uk-UA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діл 1. Аналітична частина: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сторичний розвиток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еографічне розташування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родно-ресурсний потенціал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характеристика </a:t>
            </a: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селення та трудових ресурсів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явна інфраструктура (транспортна, житлово-комунальна, поштова та зв’язок, соціальна, торгівлі та послуг туристична)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стобудівна документація, а також концепція інтегрованого розвитку території територіальної громади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нформація щодо відповідності регіональній стратегії розвитку;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кономічний розвиток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інансовий стан та бюджет територіальної громади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ргани управління громадою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ргани самоорганізації населення та громадських об’єднань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uk-UA" sz="264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и опитування заінтересованих сторін;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uk-UA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діл 2. </a:t>
            </a:r>
            <a:r>
              <a:rPr lang="en-US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OT-</a:t>
            </a:r>
            <a:r>
              <a:rPr lang="uk-UA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аліз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діл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3.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ценарії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витку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риторіальної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ромади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діл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4.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атегічне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чення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витку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риторіальної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ромади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діл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5.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атегічні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тивні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ілі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а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вдання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витку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риторіальної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ромади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діл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6.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дення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ніторингу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цінювання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лізації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атегії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а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равління</a:t>
            </a: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39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изиками</a:t>
            </a:r>
            <a:endParaRPr lang="ru-RU" sz="3439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3439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 ЗАХОДІВ З РЕАЛІЗАЦІЇ СТРАТЕГІЇ</a:t>
            </a:r>
            <a:endParaRPr lang="pl-PL" sz="3439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ytuł 1"/>
          <p:cNvSpPr>
            <a:spLocks noGrp="1"/>
          </p:cNvSpPr>
          <p:nvPr>
            <p:ph type="title"/>
          </p:nvPr>
        </p:nvSpPr>
        <p:spPr>
          <a:xfrm>
            <a:off x="1174263" y="1216645"/>
            <a:ext cx="14600809" cy="1221198"/>
          </a:xfrm>
        </p:spPr>
        <p:txBody>
          <a:bodyPr/>
          <a:lstStyle/>
          <a:p>
            <a:r>
              <a:rPr lang="uk-UA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РАМКОВА</a:t>
            </a:r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СТРУКТУРА </a:t>
            </a:r>
            <a:r>
              <a:rPr lang="uk-UA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СТРАТЕГІЇ</a:t>
            </a:r>
            <a:endParaRPr lang="pl-PL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705" y="12811642"/>
            <a:ext cx="5644796" cy="499967"/>
          </a:xfrm>
          <a:prstGeom prst="rect">
            <a:avLst/>
          </a:prstGeom>
        </p:spPr>
      </p:pic>
      <p:sp>
        <p:nvSpPr>
          <p:cNvPr id="6" name="Google Shape;255;p3"/>
          <p:cNvSpPr txBox="1"/>
          <p:nvPr/>
        </p:nvSpPr>
        <p:spPr>
          <a:xfrm>
            <a:off x="8361935" y="12816193"/>
            <a:ext cx="7660130" cy="488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1859" tIns="120897" rIns="241859" bIns="120897" anchor="t" anchorCtr="0">
            <a:noAutofit/>
          </a:bodyPr>
          <a:lstStyle/>
          <a:p>
            <a:r>
              <a:rPr lang="en-US" sz="1587" b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РОЄКТ USAID «ГОВЕРЛА»</a:t>
            </a:r>
            <a:endParaRPr sz="7936" dirty="0"/>
          </a:p>
        </p:txBody>
      </p:sp>
      <p:pic>
        <p:nvPicPr>
          <p:cNvPr id="7" name="Obraz 1">
            <a:extLst>
              <a:ext uri="{FF2B5EF4-FFF2-40B4-BE49-F238E27FC236}">
                <a16:creationId xmlns:a16="http://schemas.microsoft.com/office/drawing/2014/main" id="{1E63F20F-03BF-47E5-96F9-EB86B82CF1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8" name="Obraz 2">
            <a:extLst>
              <a:ext uri="{FF2B5EF4-FFF2-40B4-BE49-F238E27FC236}">
                <a16:creationId xmlns:a16="http://schemas.microsoft.com/office/drawing/2014/main" id="{DA0C192B-B489-4BEB-9222-E4BEFA6540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9" name="Obraz 5">
            <a:extLst>
              <a:ext uri="{FF2B5EF4-FFF2-40B4-BE49-F238E27FC236}">
                <a16:creationId xmlns:a16="http://schemas.microsoft.com/office/drawing/2014/main" id="{82740D4E-F13F-4467-8EAE-4CB56FEE5E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788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266" y="1099401"/>
            <a:ext cx="22701384" cy="3294174"/>
          </a:xfrm>
        </p:spPr>
        <p:txBody>
          <a:bodyPr>
            <a:noAutofit/>
          </a:bodyPr>
          <a:lstStyle/>
          <a:p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СТЕМА ДЛЯ ОЦІНЮВАННЯ СТРАТЕГІЙ МІСЦЕВОГО РОЗВИТКУ </a:t>
            </a:r>
            <a:r>
              <a:rPr lang="uk-UA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Г</a:t>
            </a:r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uk-UA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3630" y="4710021"/>
            <a:ext cx="22756484" cy="8729934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uk-UA" sz="8800" dirty="0">
                <a:latin typeface="Calibri" panose="020F0502020204030204" pitchFamily="34" charset="0"/>
                <a:cs typeface="Calibri" panose="020F0502020204030204" pitchFamily="34" charset="0"/>
              </a:rPr>
              <a:t>Через 1-2 роки стратегії будуть у всіх. </a:t>
            </a:r>
          </a:p>
          <a:p>
            <a:pPr algn="just"/>
            <a:r>
              <a:rPr lang="uk-UA" sz="8800" dirty="0">
                <a:latin typeface="Calibri" panose="020F0502020204030204" pitchFamily="34" charset="0"/>
                <a:cs typeface="Calibri" panose="020F0502020204030204" pitchFamily="34" charset="0"/>
              </a:rPr>
              <a:t>Як порівняти їх якість та вплив на місцеву громаду?</a:t>
            </a:r>
          </a:p>
          <a:p>
            <a:pPr algn="just"/>
            <a:r>
              <a:rPr lang="uk-UA" sz="8800" dirty="0">
                <a:latin typeface="Calibri" panose="020F0502020204030204" pitchFamily="34" charset="0"/>
                <a:cs typeface="Calibri" panose="020F0502020204030204" pitchFamily="34" charset="0"/>
              </a:rPr>
              <a:t>Кому виділити кошти на впровадження певних проектів, якщо конкуренція за ресурси буде лише зростати?</a:t>
            </a:r>
          </a:p>
          <a:p>
            <a:endParaRPr lang="uk-UA" sz="8800" dirty="0"/>
          </a:p>
        </p:txBody>
      </p:sp>
      <p:pic>
        <p:nvPicPr>
          <p:cNvPr id="4" name="Obraz 1">
            <a:extLst>
              <a:ext uri="{FF2B5EF4-FFF2-40B4-BE49-F238E27FC236}">
                <a16:creationId xmlns:a16="http://schemas.microsoft.com/office/drawing/2014/main" id="{3E0A0C7C-2F06-49D4-9352-A3AF2F10C0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5" name="Obraz 2">
            <a:extLst>
              <a:ext uri="{FF2B5EF4-FFF2-40B4-BE49-F238E27FC236}">
                <a16:creationId xmlns:a16="http://schemas.microsoft.com/office/drawing/2014/main" id="{752FB95B-B424-4D8C-A45B-C46F4FE517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14A14E5A-A375-4D85-B2D9-A21C6A16C5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095021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9100" y="1270000"/>
            <a:ext cx="21005800" cy="1784350"/>
          </a:xfrm>
        </p:spPr>
        <p:txBody>
          <a:bodyPr>
            <a:normAutofit/>
          </a:bodyPr>
          <a:lstStyle/>
          <a:p>
            <a:r>
              <a:rPr lang="uk-UA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ИКА ОЦІНЮВАННЯ СТРАТЕГІЙ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uk-UA" sz="8000" dirty="0">
                <a:latin typeface="Calibri" panose="020F0502020204030204" pitchFamily="34" charset="0"/>
                <a:cs typeface="Calibri" panose="020F0502020204030204" pitchFamily="34" charset="0"/>
              </a:rPr>
              <a:t>Якість документів стратегічного планування (</a:t>
            </a:r>
            <a:r>
              <a:rPr lang="uk-UA" sz="8000" dirty="0" err="1">
                <a:latin typeface="Calibri" panose="020F0502020204030204" pitchFamily="34" charset="0"/>
                <a:cs typeface="Calibri" panose="020F0502020204030204" pitchFamily="34" charset="0"/>
              </a:rPr>
              <a:t>Соцеконом</a:t>
            </a:r>
            <a:r>
              <a:rPr lang="uk-UA" sz="8000" dirty="0">
                <a:latin typeface="Calibri" panose="020F0502020204030204" pitchFamily="34" charset="0"/>
                <a:cs typeface="Calibri" panose="020F0502020204030204" pitchFamily="34" charset="0"/>
              </a:rPr>
              <a:t> аналіз (аудит)</a:t>
            </a:r>
            <a:r>
              <a:rPr lang="en-US" sz="8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8000" dirty="0">
                <a:latin typeface="Calibri" panose="020F0502020204030204" pitchFamily="34" charset="0"/>
                <a:cs typeface="Calibri" panose="020F0502020204030204" pitchFamily="34" charset="0"/>
              </a:rPr>
              <a:t>громади, Стратегія, План реалізації стратегії, Система моніторингу, оцінювання та актуалізації.</a:t>
            </a:r>
          </a:p>
          <a:p>
            <a:pPr marL="0" indent="0">
              <a:buNone/>
            </a:pPr>
            <a:endParaRPr lang="uk-UA" sz="8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8000" dirty="0">
                <a:latin typeface="Calibri" panose="020F0502020204030204" pitchFamily="34" charset="0"/>
                <a:cs typeface="Calibri" panose="020F0502020204030204" pitchFamily="34" charset="0"/>
              </a:rPr>
              <a:t>Процедури та публічність процесу розробки та впровадження Стратегії</a:t>
            </a:r>
          </a:p>
        </p:txBody>
      </p:sp>
      <p:pic>
        <p:nvPicPr>
          <p:cNvPr id="4" name="Obraz 1">
            <a:extLst>
              <a:ext uri="{FF2B5EF4-FFF2-40B4-BE49-F238E27FC236}">
                <a16:creationId xmlns:a16="http://schemas.microsoft.com/office/drawing/2014/main" id="{265DB713-08F4-43A9-9C50-3D5CB5BD80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5" name="Obraz 2">
            <a:extLst>
              <a:ext uri="{FF2B5EF4-FFF2-40B4-BE49-F238E27FC236}">
                <a16:creationId xmlns:a16="http://schemas.microsoft.com/office/drawing/2014/main" id="{8BCA8A88-C1CE-4B04-BE87-978D2A8FFB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C8F27A37-8A0F-4D28-979F-AA9FE7B3E5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9873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4724" y="1514167"/>
            <a:ext cx="21031200" cy="1238866"/>
          </a:xfrm>
        </p:spPr>
        <p:txBody>
          <a:bodyPr>
            <a:normAutofit/>
          </a:bodyPr>
          <a:lstStyle/>
          <a:p>
            <a:pPr algn="ctr"/>
            <a:r>
              <a:rPr lang="uk-UA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ЛУЧЕННЯ ПАРТНЕРСТВ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5638" y="2753032"/>
            <a:ext cx="23951384" cy="1114978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uk-UA" dirty="0">
                <a:latin typeface="Calibri" panose="020F0502020204030204" pitchFamily="34" charset="0"/>
                <a:cs typeface="Calibri" panose="020F0502020204030204" pitchFamily="34" charset="0"/>
              </a:rPr>
              <a:t>Зі списку робочої групи: </a:t>
            </a:r>
          </a:p>
          <a:p>
            <a:pPr marL="0" indent="0">
              <a:buNone/>
            </a:pPr>
            <a:r>
              <a:rPr lang="uk-UA" dirty="0">
                <a:latin typeface="Calibri" panose="020F0502020204030204" pitchFamily="34" charset="0"/>
                <a:cs typeface="Calibri" panose="020F0502020204030204" pitchFamily="34" charset="0"/>
              </a:rPr>
              <a:t>1 = недостатнє представництво в інституційному та громадському секторах (наприклад: лише службовці); </a:t>
            </a:r>
          </a:p>
          <a:p>
            <a:pPr marL="0" indent="0">
              <a:buNone/>
            </a:pPr>
            <a:r>
              <a:rPr lang="uk-UA" dirty="0">
                <a:latin typeface="Calibri" panose="020F0502020204030204" pitchFamily="34" charset="0"/>
                <a:cs typeface="Calibri" panose="020F0502020204030204" pitchFamily="34" charset="0"/>
              </a:rPr>
              <a:t>2 = службовці та всі інші державні адміністративні рівні (село, ОТГ, район, область, держава), але не більше; </a:t>
            </a:r>
          </a:p>
          <a:p>
            <a:pPr marL="0" indent="0">
              <a:buNone/>
            </a:pPr>
            <a:r>
              <a:rPr lang="uk-UA" dirty="0">
                <a:latin typeface="Calibri" panose="020F0502020204030204" pitchFamily="34" charset="0"/>
                <a:cs typeface="Calibri" panose="020F0502020204030204" pitchFamily="34" charset="0"/>
              </a:rPr>
              <a:t>3 = як у попередньому плюс щонайменше один представник недержавної інституції (бізнес, НУО, асоціації, фонди тощо); </a:t>
            </a:r>
          </a:p>
          <a:p>
            <a:pPr marL="0" indent="0">
              <a:buNone/>
            </a:pPr>
            <a:r>
              <a:rPr lang="uk-UA" dirty="0">
                <a:latin typeface="Calibri" panose="020F0502020204030204" pitchFamily="34" charset="0"/>
                <a:cs typeface="Calibri" panose="020F0502020204030204" pitchFamily="34" charset="0"/>
              </a:rPr>
              <a:t>4 = як у попередньому плюс помітна кількість представників недержавних інституцій; </a:t>
            </a:r>
          </a:p>
          <a:p>
            <a:pPr marL="0" indent="0">
              <a:buNone/>
            </a:pPr>
            <a:r>
              <a:rPr lang="uk-UA" dirty="0">
                <a:latin typeface="Calibri" panose="020F0502020204030204" pitchFamily="34" charset="0"/>
                <a:cs typeface="Calibri" panose="020F0502020204030204" pitchFamily="34" charset="0"/>
              </a:rPr>
              <a:t>5 = Пропорційне представництво по відношенні до </a:t>
            </a:r>
            <a:r>
              <a:rPr lang="uk-UA">
                <a:latin typeface="Calibri" panose="020F0502020204030204" pitchFamily="34" charset="0"/>
                <a:cs typeface="Calibri" panose="020F0502020204030204" pitchFamily="34" charset="0"/>
              </a:rPr>
              <a:t>місцевої адміністрації</a:t>
            </a:r>
            <a:endParaRPr lang="uk-UA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Obraz 1">
            <a:extLst>
              <a:ext uri="{FF2B5EF4-FFF2-40B4-BE49-F238E27FC236}">
                <a16:creationId xmlns:a16="http://schemas.microsoft.com/office/drawing/2014/main" id="{71BC6827-8B68-49A6-A8DB-A6AB7B7D78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5" name="Obraz 2">
            <a:extLst>
              <a:ext uri="{FF2B5EF4-FFF2-40B4-BE49-F238E27FC236}">
                <a16:creationId xmlns:a16="http://schemas.microsoft.com/office/drawing/2014/main" id="{5CB53A10-A1EF-4F86-975E-8440B85BF8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AEC9D9A1-90C6-43BC-A296-D0D50D08B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30373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514169"/>
            <a:ext cx="21031200" cy="1671486"/>
          </a:xfrm>
        </p:spPr>
        <p:txBody>
          <a:bodyPr>
            <a:normAutofit/>
          </a:bodyPr>
          <a:lstStyle/>
          <a:p>
            <a:pPr algn="ctr"/>
            <a:r>
              <a:rPr lang="uk-UA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ЛУЧЕННЯ БІЗНЕС-СЕРЕДОВИЩ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1 = 0%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місцевих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підприємців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</a:p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2 = 1% до 10%; </a:t>
            </a:r>
          </a:p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3 = 11% до 20%; </a:t>
            </a:r>
          </a:p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4 = 21 до 40%; </a:t>
            </a:r>
          </a:p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5 =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більше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40%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uk-UA" dirty="0">
                <a:latin typeface="Calibri" panose="020F0502020204030204" pitchFamily="34" charset="0"/>
                <a:cs typeface="Calibri" panose="020F0502020204030204" pitchFamily="34" charset="0"/>
              </a:rPr>
              <a:t>Загалом в робочій групі, через опитування, або в підгрупі з економічного розвитку.</a:t>
            </a:r>
            <a:endParaRPr lang="uk-UA" dirty="0"/>
          </a:p>
        </p:txBody>
      </p:sp>
      <p:pic>
        <p:nvPicPr>
          <p:cNvPr id="4" name="Obraz 1">
            <a:extLst>
              <a:ext uri="{FF2B5EF4-FFF2-40B4-BE49-F238E27FC236}">
                <a16:creationId xmlns:a16="http://schemas.microsoft.com/office/drawing/2014/main" id="{780FE177-62CC-4BF8-8571-1235A661B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5" name="Obraz 2">
            <a:extLst>
              <a:ext uri="{FF2B5EF4-FFF2-40B4-BE49-F238E27FC236}">
                <a16:creationId xmlns:a16="http://schemas.microsoft.com/office/drawing/2014/main" id="{084D671A-AC8C-449B-B193-0396EBB146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66CD7768-F592-43AE-87EC-573F27B465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733187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0E10DF-79F0-4E7D-3D9C-CDCD428968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18AA27-4579-D0D2-BF3E-8A8FC154E3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1514169"/>
            <a:ext cx="21031200" cy="1671486"/>
          </a:xfrm>
        </p:spPr>
        <p:txBody>
          <a:bodyPr>
            <a:normAutofit/>
          </a:bodyPr>
          <a:lstStyle/>
          <a:p>
            <a:pPr algn="ctr"/>
            <a:r>
              <a:rPr lang="uk-UA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ИТЕРІЇ ОЦІНЮВАННЯ ПРОЄКТІВ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F40CEB-33EA-23CE-3E93-B70CB3707E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1.	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Кількіст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осіб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що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отримают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вигоду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від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реалізації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проекту</a:t>
            </a:r>
          </a:p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2.	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Економія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бюджету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або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збільшення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надходжен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до бюджету</a:t>
            </a:r>
          </a:p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3.	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Вплив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на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здоров’я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довкілля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та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якіст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життя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4.	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Вартіст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проєкту та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наявні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джерела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фінансування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5.	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Триваліст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реалізації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проєкту та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сталіст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результатів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6.	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Вплив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на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згуртованість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громади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підвищення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людського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потенціалу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4" name="Obraz 1">
            <a:extLst>
              <a:ext uri="{FF2B5EF4-FFF2-40B4-BE49-F238E27FC236}">
                <a16:creationId xmlns:a16="http://schemas.microsoft.com/office/drawing/2014/main" id="{2D926A3D-FB37-E82A-8A90-5F61EE913F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5" name="Obraz 2">
            <a:extLst>
              <a:ext uri="{FF2B5EF4-FFF2-40B4-BE49-F238E27FC236}">
                <a16:creationId xmlns:a16="http://schemas.microsoft.com/office/drawing/2014/main" id="{381CD418-9B24-6476-3D4D-D11AF4F2F5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D80A6FE4-2221-F6B1-8F08-F8929E6F51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528231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357165" y="1260552"/>
            <a:ext cx="7244151" cy="2168582"/>
          </a:xfrm>
        </p:spPr>
        <p:txBody>
          <a:bodyPr/>
          <a:lstStyle/>
          <a:p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РОЛЬ КОНСУЛЬТАНТІВ</a:t>
            </a:r>
            <a:endParaRPr lang="pl-PL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Diagram 3"/>
          <p:cNvGraphicFramePr/>
          <p:nvPr/>
        </p:nvGraphicFramePr>
        <p:xfrm>
          <a:off x="7909753" y="3429134"/>
          <a:ext cx="17001472" cy="94293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pole tekstowe 4"/>
          <p:cNvSpPr txBox="1"/>
          <p:nvPr/>
        </p:nvSpPr>
        <p:spPr>
          <a:xfrm>
            <a:off x="10980887" y="4336255"/>
            <a:ext cx="3000260" cy="2046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3174" dirty="0">
                <a:latin typeface="Candara" charset="0"/>
                <a:ea typeface="Candara" charset="0"/>
                <a:cs typeface="Candara" charset="0"/>
              </a:rPr>
              <a:t>Тиск</a:t>
            </a:r>
            <a:r>
              <a:rPr lang="pl-PL" sz="3174" dirty="0">
                <a:latin typeface="Candara" charset="0"/>
                <a:ea typeface="Candara" charset="0"/>
                <a:cs typeface="Candara" charset="0"/>
              </a:rPr>
              <a:t>, </a:t>
            </a:r>
            <a:r>
              <a:rPr lang="uk-UA" sz="3174" dirty="0">
                <a:latin typeface="Candara" charset="0"/>
                <a:ea typeface="Candara" charset="0"/>
                <a:cs typeface="Candara" charset="0"/>
              </a:rPr>
              <a:t>маніпуляція</a:t>
            </a:r>
            <a:r>
              <a:rPr lang="pl-PL" sz="3174" dirty="0">
                <a:latin typeface="Candara" charset="0"/>
                <a:ea typeface="Candara" charset="0"/>
                <a:cs typeface="Candara" charset="0"/>
              </a:rPr>
              <a:t>,</a:t>
            </a:r>
          </a:p>
          <a:p>
            <a:pPr algn="ctr"/>
            <a:r>
              <a:rPr lang="uk-UA" sz="3174" dirty="0">
                <a:latin typeface="Candara" charset="0"/>
                <a:ea typeface="Candara" charset="0"/>
                <a:cs typeface="Candara" charset="0"/>
              </a:rPr>
              <a:t>привласнення стратегії</a:t>
            </a:r>
            <a:endParaRPr lang="pl-PL" sz="3174" dirty="0">
              <a:latin typeface="Candara" charset="0"/>
              <a:ea typeface="Candara" charset="0"/>
              <a:cs typeface="Candara" charset="0"/>
            </a:endParaRPr>
          </a:p>
        </p:txBody>
      </p:sp>
      <p:sp>
        <p:nvSpPr>
          <p:cNvPr id="6" name="pole tekstowe 5"/>
          <p:cNvSpPr txBox="1"/>
          <p:nvPr/>
        </p:nvSpPr>
        <p:spPr>
          <a:xfrm>
            <a:off x="18835107" y="9336691"/>
            <a:ext cx="2905013" cy="25346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3174" dirty="0">
                <a:solidFill>
                  <a:schemeClr val="bg1"/>
                </a:solidFill>
                <a:latin typeface="Candara" charset="0"/>
                <a:ea typeface="Candara" charset="0"/>
                <a:cs typeface="Candara" charset="0"/>
              </a:rPr>
              <a:t>Відсутність компетенцій, слабкість людських ресурсів</a:t>
            </a:r>
            <a:endParaRPr lang="pl-PL" sz="3174" dirty="0">
              <a:solidFill>
                <a:schemeClr val="bg1"/>
              </a:solidFill>
              <a:latin typeface="Candara" charset="0"/>
              <a:ea typeface="Candara" charset="0"/>
              <a:cs typeface="Candara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705" y="12811642"/>
            <a:ext cx="5644796" cy="499967"/>
          </a:xfrm>
          <a:prstGeom prst="rect">
            <a:avLst/>
          </a:prstGeom>
        </p:spPr>
      </p:pic>
      <p:sp>
        <p:nvSpPr>
          <p:cNvPr id="8" name="Google Shape;255;p3"/>
          <p:cNvSpPr txBox="1"/>
          <p:nvPr/>
        </p:nvSpPr>
        <p:spPr>
          <a:xfrm>
            <a:off x="8361935" y="12816193"/>
            <a:ext cx="7660130" cy="488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1859" tIns="120897" rIns="241859" bIns="120897" anchor="t" anchorCtr="0">
            <a:noAutofit/>
          </a:bodyPr>
          <a:lstStyle/>
          <a:p>
            <a:r>
              <a:rPr lang="en-US" sz="1587" b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РОЄКТ USAID «ГОВЕРЛА»</a:t>
            </a:r>
            <a:endParaRPr sz="7936" dirty="0"/>
          </a:p>
        </p:txBody>
      </p:sp>
      <p:pic>
        <p:nvPicPr>
          <p:cNvPr id="9" name="Obraz 1">
            <a:extLst>
              <a:ext uri="{FF2B5EF4-FFF2-40B4-BE49-F238E27FC236}">
                <a16:creationId xmlns:a16="http://schemas.microsoft.com/office/drawing/2014/main" id="{20FDB4C3-DE1F-41C1-A6E3-5CAD342981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10" name="Obraz 2">
            <a:extLst>
              <a:ext uri="{FF2B5EF4-FFF2-40B4-BE49-F238E27FC236}">
                <a16:creationId xmlns:a16="http://schemas.microsoft.com/office/drawing/2014/main" id="{12FF4651-2EA6-4DC0-9A90-CED048DDC1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11" name="Obraz 5">
            <a:extLst>
              <a:ext uri="{FF2B5EF4-FFF2-40B4-BE49-F238E27FC236}">
                <a16:creationId xmlns:a16="http://schemas.microsoft.com/office/drawing/2014/main" id="{C18964E3-BF6A-4EC7-B513-44E9F307315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456009"/>
      </p:ext>
    </p:extLst>
  </p:cSld>
  <p:clrMapOvr>
    <a:masterClrMapping/>
  </p:clrMapOvr>
  <p:transition spd="slow">
    <p:pull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514169"/>
            <a:ext cx="21031200" cy="1671486"/>
          </a:xfrm>
        </p:spPr>
        <p:txBody>
          <a:bodyPr>
            <a:normAutofit fontScale="90000"/>
          </a:bodyPr>
          <a:lstStyle/>
          <a:p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ДЕНТИФІКАЦІЯ ЛЮДЕЙ ДЛЯ РОБОЧОЇ ГРУПИ З РОЗРОБКИ СТРАТЕГІЇ</a:t>
            </a:r>
            <a:endParaRPr lang="uk-UA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>
              <a:spcBef>
                <a:spcPts val="3600"/>
              </a:spcBef>
            </a:pPr>
            <a:r>
              <a:rPr lang="uk-UA" sz="4000" b="1" dirty="0">
                <a:latin typeface="Calibri" panose="020F0502020204030204" pitchFamily="34" charset="0"/>
                <a:cs typeface="Calibri" panose="020F0502020204030204" pitchFamily="34" charset="0"/>
              </a:rPr>
              <a:t>Керівництво </a:t>
            </a: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громади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pPr>
              <a:spcBef>
                <a:spcPts val="3600"/>
              </a:spcBef>
            </a:pP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Керівники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або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представники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b="1" dirty="0" err="1">
                <a:latin typeface="Calibri" panose="020F0502020204030204" pitchFamily="34" charset="0"/>
                <a:cs typeface="Calibri" panose="020F0502020204030204" pitchFamily="34" charset="0"/>
              </a:rPr>
              <a:t>обраних</a:t>
            </a:r>
            <a:r>
              <a:rPr lang="ru-RU" sz="4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b="1" dirty="0" err="1">
                <a:latin typeface="Calibri" panose="020F0502020204030204" pitchFamily="34" charset="0"/>
                <a:cs typeface="Calibri" panose="020F0502020204030204" pitchFamily="34" charset="0"/>
              </a:rPr>
              <a:t>підрозділів</a:t>
            </a:r>
            <a:r>
              <a:rPr lang="ru-RU" sz="4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b="1" dirty="0" err="1">
                <a:latin typeface="Calibri" panose="020F0502020204030204" pitchFamily="34" charset="0"/>
                <a:cs typeface="Calibri" panose="020F0502020204030204" pitchFamily="34" charset="0"/>
              </a:rPr>
              <a:t>апарату</a:t>
            </a:r>
            <a:r>
              <a:rPr lang="ru-RU" sz="4000" b="1" dirty="0">
                <a:latin typeface="Calibri" panose="020F0502020204030204" pitchFamily="34" charset="0"/>
                <a:cs typeface="Calibri" panose="020F0502020204030204" pitchFamily="34" charset="0"/>
              </a:rPr>
              <a:t> ОМС 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– тих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підрозділів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що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впливають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на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стратегію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pPr>
              <a:spcBef>
                <a:spcPts val="3600"/>
              </a:spcBef>
            </a:pP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Керівники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або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представники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b="1" dirty="0" err="1">
                <a:latin typeface="Calibri" panose="020F0502020204030204" pitchFamily="34" charset="0"/>
                <a:cs typeface="Calibri" panose="020F0502020204030204" pitchFamily="34" charset="0"/>
              </a:rPr>
              <a:t>комунальних</a:t>
            </a:r>
            <a:r>
              <a:rPr lang="ru-RU" sz="4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b="1" dirty="0" err="1">
                <a:latin typeface="Calibri" panose="020F0502020204030204" pitchFamily="34" charset="0"/>
                <a:cs typeface="Calibri" panose="020F0502020204030204" pitchFamily="34" charset="0"/>
              </a:rPr>
              <a:t>установ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навчальних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закладів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закладів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культури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закладів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соціальної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політики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комунальних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підприємств</a:t>
            </a:r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тощо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pPr>
              <a:spcBef>
                <a:spcPts val="3600"/>
              </a:spcBef>
            </a:pP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Представники сфери </a:t>
            </a:r>
            <a:r>
              <a:rPr lang="uk-UA" sz="4000" b="1" dirty="0">
                <a:latin typeface="Calibri" panose="020F0502020204030204" pitchFamily="34" charset="0"/>
                <a:cs typeface="Calibri" panose="020F0502020204030204" pitchFamily="34" charset="0"/>
              </a:rPr>
              <a:t>бізнесу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pPr>
              <a:spcBef>
                <a:spcPts val="3600"/>
              </a:spcBef>
            </a:pP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Представники </a:t>
            </a:r>
            <a:r>
              <a:rPr lang="uk-UA" sz="4000" b="1" dirty="0">
                <a:latin typeface="Calibri" panose="020F0502020204030204" pitchFamily="34" charset="0"/>
                <a:cs typeface="Calibri" panose="020F0502020204030204" pitchFamily="34" charset="0"/>
              </a:rPr>
              <a:t>місцевої громадськості</a:t>
            </a:r>
            <a:r>
              <a:rPr lang="pl-PL" sz="4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місцеві лідери, представники громадських організацій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indent="0">
              <a:spcBef>
                <a:spcPts val="3600"/>
              </a:spcBef>
              <a:buNone/>
            </a:pPr>
            <a:endParaRPr lang="pl-PL" sz="4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3600"/>
              </a:spcBef>
            </a:pPr>
            <a:r>
              <a:rPr lang="uk-UA" sz="4000" b="1" dirty="0">
                <a:latin typeface="Calibri" panose="020F0502020204030204" pitchFamily="34" charset="0"/>
                <a:cs typeface="Calibri" panose="020F0502020204030204" pitchFamily="34" charset="0"/>
              </a:rPr>
              <a:t>Пропонуємо поділ на 2 підгрупи</a:t>
            </a:r>
            <a:r>
              <a:rPr lang="pl-PL" sz="4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мала, базова, виконавча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кілька осіб)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та більша, консультаційна, дорадча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кілька десятків осіб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</p:txBody>
      </p:sp>
      <p:pic>
        <p:nvPicPr>
          <p:cNvPr id="4" name="Obraz 1">
            <a:extLst>
              <a:ext uri="{FF2B5EF4-FFF2-40B4-BE49-F238E27FC236}">
                <a16:creationId xmlns:a16="http://schemas.microsoft.com/office/drawing/2014/main" id="{780FE177-62CC-4BF8-8571-1235A661B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5" name="Obraz 2">
            <a:extLst>
              <a:ext uri="{FF2B5EF4-FFF2-40B4-BE49-F238E27FC236}">
                <a16:creationId xmlns:a16="http://schemas.microsoft.com/office/drawing/2014/main" id="{084D671A-AC8C-449B-B193-0396EBB146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66CD7768-F592-43AE-87EC-573F27B465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523405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>
          <a:xfrm>
            <a:off x="3359019" y="1697038"/>
            <a:ext cx="16513835" cy="1536171"/>
          </a:xfrm>
        </p:spPr>
        <p:txBody>
          <a:bodyPr>
            <a:normAutofit/>
          </a:bodyPr>
          <a:lstStyle/>
          <a:p>
            <a:pPr algn="ctr"/>
            <a:r>
              <a:rPr lang="uk-UA" sz="8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ЯКУЄМО ЗА УВАГУ!</a:t>
            </a:r>
            <a:endParaRPr lang="pl-PL" sz="8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кутник 1"/>
          <p:cNvSpPr/>
          <p:nvPr/>
        </p:nvSpPr>
        <p:spPr>
          <a:xfrm>
            <a:off x="862742" y="3412266"/>
            <a:ext cx="22658517" cy="103100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6400" dirty="0">
                <a:latin typeface="Calibri" panose="020F0502020204030204" pitchFamily="34" charset="0"/>
                <a:cs typeface="Calibri" panose="020F0502020204030204" pitchFamily="34" charset="0"/>
              </a:rPr>
              <a:t>За потреби - звертайтесь</a:t>
            </a:r>
            <a:r>
              <a:rPr lang="pl-PL" sz="6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br>
              <a:rPr lang="pl-PL" sz="6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pl-PL" sz="2933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az-Cyrl-AZ" sz="80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від Хоінкіс</a:t>
            </a:r>
            <a:r>
              <a:rPr lang="pl-PL" sz="80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8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wid.hoinkis@mistia.org.pl</a:t>
            </a:r>
          </a:p>
          <a:p>
            <a:r>
              <a:rPr lang="az-Cyrl-AZ" sz="80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лег Карий</a:t>
            </a:r>
            <a:r>
              <a:rPr lang="uk-UA" sz="8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8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L415@ukr.net</a:t>
            </a:r>
          </a:p>
          <a:p>
            <a:pPr>
              <a:lnSpc>
                <a:spcPct val="114000"/>
              </a:lnSpc>
            </a:pPr>
            <a:r>
              <a:rPr lang="uk-UA" sz="53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ксперти зі стратегічного планування в рамках Програми </a:t>
            </a:r>
            <a:r>
              <a:rPr lang="uk-UA" sz="53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централізація </a:t>
            </a:r>
            <a:r>
              <a:rPr lang="ru-RU" sz="53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носить кращі результати та ефективність (DOBRE)</a:t>
            </a:r>
            <a:endParaRPr lang="pl-PL" sz="53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4000"/>
              </a:lnSpc>
            </a:pPr>
            <a:endParaRPr lang="pl-PL" sz="7000" dirty="0">
              <a:solidFill>
                <a:srgbClr val="C00000"/>
              </a:solidFill>
            </a:endParaRPr>
          </a:p>
          <a:p>
            <a:pPr algn="ctr"/>
            <a:r>
              <a:rPr lang="az-Cyrl-AZ" sz="7000" dirty="0">
                <a:solidFill>
                  <a:srgbClr val="C00000"/>
                </a:solidFill>
              </a:rPr>
              <a:t>Фонд Розвитку Місцевої Демократії</a:t>
            </a:r>
            <a:r>
              <a:rPr lang="pl-PL" sz="7000" dirty="0">
                <a:solidFill>
                  <a:srgbClr val="C00000"/>
                </a:solidFill>
              </a:rPr>
              <a:t> </a:t>
            </a:r>
            <a:r>
              <a:rPr lang="uk-UA" sz="7000" dirty="0">
                <a:solidFill>
                  <a:srgbClr val="C00000"/>
                </a:solidFill>
              </a:rPr>
              <a:t>ім. Єжи Регульского</a:t>
            </a:r>
            <a:br>
              <a:rPr lang="pl-PL" sz="7000" dirty="0"/>
            </a:br>
            <a:r>
              <a:rPr lang="pl-PL" sz="7000" dirty="0">
                <a:solidFill>
                  <a:srgbClr val="002060"/>
                </a:solidFill>
              </a:rPr>
              <a:t>www.frdl.org.pl</a:t>
            </a:r>
            <a:endParaRPr lang="uk-UA" sz="7000" dirty="0">
              <a:solidFill>
                <a:srgbClr val="002060"/>
              </a:solidFill>
            </a:endParaRPr>
          </a:p>
        </p:txBody>
      </p:sp>
      <p:pic>
        <p:nvPicPr>
          <p:cNvPr id="4" name="Obraz 1">
            <a:extLst>
              <a:ext uri="{FF2B5EF4-FFF2-40B4-BE49-F238E27FC236}">
                <a16:creationId xmlns:a16="http://schemas.microsoft.com/office/drawing/2014/main" id="{B0E98D44-FF49-4A65-93BC-E837E57A08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5" name="Obraz 2">
            <a:extLst>
              <a:ext uri="{FF2B5EF4-FFF2-40B4-BE49-F238E27FC236}">
                <a16:creationId xmlns:a16="http://schemas.microsoft.com/office/drawing/2014/main" id="{836C62FA-BF31-4208-A7EC-A7FC7E5273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D2941737-C485-47CC-96A4-31850F66A2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815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85999" y="4477150"/>
            <a:ext cx="20130655" cy="5338269"/>
          </a:xfrm>
        </p:spPr>
        <p:txBody>
          <a:bodyPr>
            <a:normAutofit fontScale="90000"/>
          </a:bodyPr>
          <a:lstStyle/>
          <a:p>
            <a:pPr algn="just"/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устріч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Global Communities) та фінансується Агентством США з міжнародного розвитку (USAID).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br>
              <a:rPr lang="en-US" sz="5300" b="1" dirty="0">
                <a:solidFill>
                  <a:srgbClr val="002060"/>
                </a:solidFill>
              </a:rPr>
            </a:b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8909" y="459859"/>
            <a:ext cx="6109855" cy="30549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687" y="363706"/>
            <a:ext cx="8370296" cy="3239305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920D1F67-F886-4690-9524-14739974A6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2643" y="636241"/>
            <a:ext cx="4976945" cy="269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15210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92605" y="3450604"/>
            <a:ext cx="22598790" cy="7130103"/>
          </a:xfrm>
        </p:spPr>
        <p:txBody>
          <a:bodyPr>
            <a:normAutofit fontScale="90000"/>
          </a:bodyPr>
          <a:lstStyle/>
          <a:p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sz="4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uk-UA" sz="8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грама </a:t>
            </a:r>
            <a:r>
              <a:rPr lang="en-US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AID </a:t>
            </a:r>
            <a:r>
              <a:rPr lang="uk-UA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BRE у </a:t>
            </a:r>
            <a:r>
              <a:rPr lang="uk-UA" sz="4700" b="1" dirty="0" err="1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Фейсбук</a:t>
            </a:r>
            <a:r>
              <a:rPr lang="uk-UA" sz="47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uk-UA" sz="4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https://www.facebook.com/decentralizationisdobre</a:t>
            </a:r>
            <a:br>
              <a:rPr lang="uk-UA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4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4700" b="1" dirty="0" err="1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грама</a:t>
            </a:r>
            <a:r>
              <a:rPr lang="ru-RU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BRE на сайті Українського кризового медіа центру</a:t>
            </a:r>
            <a:r>
              <a:rPr lang="uk-UA" sz="47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uk-UA" sz="4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http://ucmc.org.ua/uk/decentralization/#news</a:t>
            </a:r>
            <a:br>
              <a:rPr lang="uk-UA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4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4700" b="1" dirty="0" err="1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грама</a:t>
            </a:r>
            <a:r>
              <a:rPr lang="ru-RU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BRE на сайті Децентралізація</a:t>
            </a:r>
            <a:r>
              <a:rPr lang="uk-UA" sz="47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br>
              <a:rPr lang="en-US" sz="47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4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https://decentralization.gov.ua/news/tag/ekspertno-dobre</a:t>
            </a:r>
            <a:br>
              <a:rPr lang="en-US" sz="4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br>
              <a:rPr lang="uk-UA" sz="4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BRE </a:t>
            </a:r>
            <a:r>
              <a:rPr lang="uk-UA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актики </a:t>
            </a:r>
            <a:r>
              <a:rPr lang="en-US" sz="4700" b="1" dirty="0" err="1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outube</a:t>
            </a:r>
            <a:r>
              <a:rPr lang="en-US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700" b="1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нал</a:t>
            </a:r>
            <a:r>
              <a:rPr lang="ru-RU" sz="47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ru-RU" sz="4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https</a:t>
            </a:r>
            <a:r>
              <a:rPr lang="ru-RU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://</a:t>
            </a:r>
            <a:r>
              <a:rPr lang="en-US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www</a:t>
            </a:r>
            <a:r>
              <a:rPr lang="ru-RU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.</a:t>
            </a:r>
            <a:r>
              <a:rPr lang="en-US" sz="47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youtube</a:t>
            </a:r>
            <a:r>
              <a:rPr lang="ru-RU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.</a:t>
            </a:r>
            <a:r>
              <a:rPr lang="en-US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com</a:t>
            </a:r>
            <a:r>
              <a:rPr lang="ru-RU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/</a:t>
            </a:r>
            <a:r>
              <a:rPr lang="en-US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channel</a:t>
            </a:r>
            <a:r>
              <a:rPr lang="ru-RU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/</a:t>
            </a:r>
            <a:r>
              <a:rPr lang="en-US" sz="47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UCnktaySHbi</a:t>
            </a:r>
            <a:r>
              <a:rPr lang="ru-RU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92021</a:t>
            </a:r>
            <a:r>
              <a:rPr lang="en-US" sz="47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PSzOgeBA</a:t>
            </a:r>
            <a:r>
              <a:rPr lang="ru-RU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/</a:t>
            </a:r>
            <a:r>
              <a:rPr lang="en-US" sz="47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videos</a:t>
            </a:r>
            <a:br>
              <a:rPr lang="en-US" sz="4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"/>
          </p:nvPr>
        </p:nvSpPr>
        <p:spPr>
          <a:xfrm>
            <a:off x="892605" y="10974986"/>
            <a:ext cx="22598790" cy="1888959"/>
          </a:xfrm>
        </p:spPr>
        <p:txBody>
          <a:bodyPr>
            <a:noAutofit/>
          </a:bodyPr>
          <a:lstStyle/>
          <a:p>
            <a:pPr algn="just"/>
            <a:r>
              <a:rPr lang="uk-UA" sz="40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Ця презентація стала можливою завдяки щирій підтримці американського народу, наданій через Агентство США з міжнародного розвитку (</a:t>
            </a:r>
            <a:r>
              <a:rPr lang="en-US" sz="40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AID</a:t>
            </a:r>
            <a:r>
              <a:rPr lang="uk-UA" sz="40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. Зміст є відповідальністю Глобал </a:t>
            </a:r>
            <a:r>
              <a:rPr lang="uk-UA" sz="4000" dirty="0" err="1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омʼюнітіз</a:t>
            </a:r>
            <a:r>
              <a:rPr lang="uk-UA" sz="40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40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lobal Communities</a:t>
            </a:r>
            <a:r>
              <a:rPr lang="uk-UA" sz="40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і не обов'язково відображає точку зору </a:t>
            </a:r>
            <a:r>
              <a:rPr lang="en-US" sz="40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AID</a:t>
            </a:r>
            <a:r>
              <a:rPr lang="uk-UA" sz="4000" dirty="0">
                <a:solidFill>
                  <a:srgbClr val="00006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чи Уряду Сполучених Штатів.</a:t>
            </a:r>
            <a:endParaRPr lang="en-US" sz="4000" dirty="0">
              <a:solidFill>
                <a:srgbClr val="000066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5490" y="459860"/>
            <a:ext cx="5278299" cy="26391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1" y="459859"/>
            <a:ext cx="6701904" cy="2593637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024B06FD-7C44-4E8E-BBA1-DE235CB1CB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76443" y="459860"/>
            <a:ext cx="4620394" cy="2509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89366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910343" y="1761067"/>
            <a:ext cx="14903183" cy="1211986"/>
          </a:xfrm>
        </p:spPr>
        <p:txBody>
          <a:bodyPr/>
          <a:lstStyle/>
          <a:p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СТРАТЕГІЯ РОЗВИТКУ - ЦЕ</a:t>
            </a:r>
            <a:endParaRPr lang="pl-PL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701805" y="4381595"/>
            <a:ext cx="22729263" cy="4952810"/>
          </a:xfrm>
        </p:spPr>
        <p:txBody>
          <a:bodyPr>
            <a:noAutofit/>
          </a:bodyPr>
          <a:lstStyle/>
          <a:p>
            <a:pPr marL="0" indent="0" algn="just">
              <a:lnSpc>
                <a:spcPct val="110000"/>
              </a:lnSpc>
              <a:spcBef>
                <a:spcPts val="794"/>
              </a:spcBef>
              <a:buNone/>
            </a:pPr>
            <a:r>
              <a:rPr lang="az-Cyrl-AZ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увальний документ на тривалу перспективу, який визначає найважливіші цілі і завдання, інструменти їх реалізації, а також методи перевірки отриманих результатів політики розвитку, що здійснюється на території даної організації чи територіально-адміністративної одиниці.</a:t>
            </a:r>
            <a:endParaRPr lang="pl-PL" sz="5291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spcBef>
                <a:spcPts val="794"/>
              </a:spcBef>
              <a:buNone/>
            </a:pPr>
            <a:endParaRPr lang="pl-PL" sz="5291" dirty="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705" y="12811642"/>
            <a:ext cx="5644796" cy="499967"/>
          </a:xfrm>
          <a:prstGeom prst="rect">
            <a:avLst/>
          </a:prstGeom>
        </p:spPr>
      </p:pic>
      <p:sp>
        <p:nvSpPr>
          <p:cNvPr id="5" name="Google Shape;255;p3"/>
          <p:cNvSpPr txBox="1"/>
          <p:nvPr/>
        </p:nvSpPr>
        <p:spPr>
          <a:xfrm>
            <a:off x="8361935" y="12816193"/>
            <a:ext cx="7660130" cy="488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1859" tIns="120897" rIns="241859" bIns="120897" anchor="t" anchorCtr="0">
            <a:noAutofit/>
          </a:bodyPr>
          <a:lstStyle/>
          <a:p>
            <a:r>
              <a:rPr lang="en-US" sz="1587" b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РОЄКТ USAID «ГОВЕРЛА»</a:t>
            </a:r>
            <a:endParaRPr sz="7936" dirty="0"/>
          </a:p>
        </p:txBody>
      </p:sp>
      <p:pic>
        <p:nvPicPr>
          <p:cNvPr id="6" name="Obraz 1">
            <a:extLst>
              <a:ext uri="{FF2B5EF4-FFF2-40B4-BE49-F238E27FC236}">
                <a16:creationId xmlns:a16="http://schemas.microsoft.com/office/drawing/2014/main" id="{96EEECBF-F18F-4E7F-AD5C-3E223FD578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7" name="Obraz 2">
            <a:extLst>
              <a:ext uri="{FF2B5EF4-FFF2-40B4-BE49-F238E27FC236}">
                <a16:creationId xmlns:a16="http://schemas.microsoft.com/office/drawing/2014/main" id="{845E8E39-D813-49F6-BC7F-157253FFB0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8" name="Obraz 5">
            <a:extLst>
              <a:ext uri="{FF2B5EF4-FFF2-40B4-BE49-F238E27FC236}">
                <a16:creationId xmlns:a16="http://schemas.microsoft.com/office/drawing/2014/main" id="{98101220-99EB-480F-BC34-D19BC6FBDA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013907"/>
      </p:ext>
    </p:extLst>
  </p:cSld>
  <p:clrMapOvr>
    <a:masterClrMapping/>
  </p:clrMapOvr>
  <p:transition spd="slow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02D64D-1790-084F-E632-222FBEF9E8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D121F6E-CBAA-0329-4946-0FBF2B1DC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343" y="1761067"/>
            <a:ext cx="14903183" cy="1211986"/>
          </a:xfrm>
        </p:spPr>
        <p:txBody>
          <a:bodyPr>
            <a:normAutofit/>
          </a:bodyPr>
          <a:lstStyle/>
          <a:p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РІЗНІ МОДЕЛІ РОБОТИ НАД СТРАТЕГІЄЮ</a:t>
            </a:r>
            <a:endParaRPr lang="pl-PL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794805F-AEAC-ABEA-9F12-E877FC8AFC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805" y="4381595"/>
            <a:ext cx="22729263" cy="4952810"/>
          </a:xfrm>
        </p:spPr>
        <p:txBody>
          <a:bodyPr>
            <a:noAutofit/>
          </a:bodyPr>
          <a:lstStyle/>
          <a:p>
            <a:pPr algn="just">
              <a:lnSpc>
                <a:spcPct val="110000"/>
              </a:lnSpc>
              <a:spcBef>
                <a:spcPts val="794"/>
              </a:spcBef>
            </a:pPr>
            <a:r>
              <a:rPr lang="uk-UA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дмінстративна</a:t>
            </a:r>
            <a:r>
              <a:rPr lang="uk-UA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одель;</a:t>
            </a:r>
            <a:endParaRPr lang="pl-PL" sz="5291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0000"/>
              </a:lnSpc>
              <a:spcBef>
                <a:spcPts val="794"/>
              </a:spcBef>
            </a:pPr>
            <a:r>
              <a:rPr lang="uk-UA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кспертна модель;</a:t>
            </a:r>
            <a:endParaRPr lang="pl-PL" sz="5291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0000"/>
              </a:lnSpc>
              <a:spcBef>
                <a:spcPts val="794"/>
              </a:spcBef>
            </a:pPr>
            <a:r>
              <a:rPr lang="uk-UA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ртисипативна</a:t>
            </a:r>
            <a:r>
              <a:rPr lang="uk-UA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одель (із залученням різних зацікавлених сторін);</a:t>
            </a:r>
            <a:endParaRPr lang="pl-PL" sz="5291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0000"/>
              </a:lnSpc>
              <a:spcBef>
                <a:spcPts val="794"/>
              </a:spcBef>
            </a:pPr>
            <a:r>
              <a:rPr lang="uk-UA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ртисипативно</a:t>
            </a:r>
            <a:r>
              <a:rPr lang="uk-UA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експертна модель</a:t>
            </a:r>
            <a:r>
              <a:rPr lang="pl-PL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indent="0" algn="just">
              <a:lnSpc>
                <a:spcPct val="110000"/>
              </a:lnSpc>
              <a:spcBef>
                <a:spcPts val="794"/>
              </a:spcBef>
              <a:buNone/>
            </a:pPr>
            <a:endParaRPr lang="pl-PL" sz="5291" dirty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142C98E-97CE-78EC-4EFE-E8D7BDF8E5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705" y="12811642"/>
            <a:ext cx="5644796" cy="499967"/>
          </a:xfrm>
          <a:prstGeom prst="rect">
            <a:avLst/>
          </a:prstGeom>
        </p:spPr>
      </p:pic>
      <p:sp>
        <p:nvSpPr>
          <p:cNvPr id="5" name="Google Shape;255;p3">
            <a:extLst>
              <a:ext uri="{FF2B5EF4-FFF2-40B4-BE49-F238E27FC236}">
                <a16:creationId xmlns:a16="http://schemas.microsoft.com/office/drawing/2014/main" id="{9D29ECBA-3B29-F7B8-DCEE-7293E1F7A6ED}"/>
              </a:ext>
            </a:extLst>
          </p:cNvPr>
          <p:cNvSpPr txBox="1"/>
          <p:nvPr/>
        </p:nvSpPr>
        <p:spPr>
          <a:xfrm>
            <a:off x="8361935" y="12816193"/>
            <a:ext cx="7660130" cy="488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1859" tIns="120897" rIns="241859" bIns="120897" anchor="t" anchorCtr="0">
            <a:noAutofit/>
          </a:bodyPr>
          <a:lstStyle/>
          <a:p>
            <a:r>
              <a:rPr lang="en-US" sz="1587" b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РОЄКТ USAID «ГОВЕРЛА»</a:t>
            </a:r>
            <a:endParaRPr sz="7936" dirty="0"/>
          </a:p>
        </p:txBody>
      </p:sp>
      <p:pic>
        <p:nvPicPr>
          <p:cNvPr id="6" name="Obraz 1">
            <a:extLst>
              <a:ext uri="{FF2B5EF4-FFF2-40B4-BE49-F238E27FC236}">
                <a16:creationId xmlns:a16="http://schemas.microsoft.com/office/drawing/2014/main" id="{AE9B0FEA-6858-B915-563C-B6A79A8783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7" name="Obraz 2">
            <a:extLst>
              <a:ext uri="{FF2B5EF4-FFF2-40B4-BE49-F238E27FC236}">
                <a16:creationId xmlns:a16="http://schemas.microsoft.com/office/drawing/2014/main" id="{3CAF12E7-15E9-2822-BE4F-1DCD426E1D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8" name="Obraz 5">
            <a:extLst>
              <a:ext uri="{FF2B5EF4-FFF2-40B4-BE49-F238E27FC236}">
                <a16:creationId xmlns:a16="http://schemas.microsoft.com/office/drawing/2014/main" id="{4C14C62F-072E-6B51-7874-62526FFB0B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  <p:sp>
        <p:nvSpPr>
          <p:cNvPr id="9" name="Znak plus 8">
            <a:extLst>
              <a:ext uri="{FF2B5EF4-FFF2-40B4-BE49-F238E27FC236}">
                <a16:creationId xmlns:a16="http://schemas.microsoft.com/office/drawing/2014/main" id="{AFB17FF1-D4E0-0AA2-049F-29BE11273B88}"/>
              </a:ext>
            </a:extLst>
          </p:cNvPr>
          <p:cNvSpPr>
            <a:spLocks noChangeAspect="1"/>
          </p:cNvSpPr>
          <p:nvPr/>
        </p:nvSpPr>
        <p:spPr>
          <a:xfrm>
            <a:off x="16353026" y="2581595"/>
            <a:ext cx="1924401" cy="18000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Znak minus 9">
            <a:extLst>
              <a:ext uri="{FF2B5EF4-FFF2-40B4-BE49-F238E27FC236}">
                <a16:creationId xmlns:a16="http://schemas.microsoft.com/office/drawing/2014/main" id="{4248736E-610E-431E-6699-9C336C09B687}"/>
              </a:ext>
            </a:extLst>
          </p:cNvPr>
          <p:cNvSpPr>
            <a:spLocks noChangeAspect="1"/>
          </p:cNvSpPr>
          <p:nvPr/>
        </p:nvSpPr>
        <p:spPr>
          <a:xfrm>
            <a:off x="16838882" y="8373023"/>
            <a:ext cx="1683244" cy="1800000"/>
          </a:xfrm>
          <a:prstGeom prst="mathMinus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89465701"/>
      </p:ext>
    </p:extLst>
  </p:cSld>
  <p:clrMapOvr>
    <a:masterClrMapping/>
  </p:clrMapOvr>
  <p:transition spd="slow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363248" y="1677275"/>
            <a:ext cx="14600809" cy="1221198"/>
          </a:xfrm>
        </p:spPr>
        <p:txBody>
          <a:bodyPr/>
          <a:lstStyle/>
          <a:p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СТРАТЕГІЯ РОЗВИТКУ ПОВИННА</a:t>
            </a:r>
            <a:endParaRPr lang="pl-PL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71946" y="4191102"/>
            <a:ext cx="22478137" cy="9143649"/>
          </a:xfrm>
        </p:spPr>
        <p:txBody>
          <a:bodyPr>
            <a:normAutofit fontScale="92500" lnSpcReduction="20000"/>
          </a:bodyPr>
          <a:lstStyle/>
          <a:p>
            <a:pPr marL="0" indent="0" algn="just">
              <a:lnSpc>
                <a:spcPct val="114000"/>
              </a:lnSpc>
              <a:spcBef>
                <a:spcPts val="2381"/>
              </a:spcBef>
              <a:buNone/>
            </a:pPr>
            <a:r>
              <a:rPr lang="uk-UA" sz="5555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ображати політику розвитку, яка прийнята шляхом узгоджень та публічного обговорення, до якої залучені представники адміністративного, громадського та бізнес секторів. Відповідно до цього було обрано партнерсько-експертну модель праці над Стратегією Розвитку територіальної громади до 202</a:t>
            </a:r>
            <a:r>
              <a:rPr lang="pl-PL" sz="5555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uk-UA" sz="5555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року.</a:t>
            </a:r>
          </a:p>
          <a:p>
            <a:pPr marL="0" indent="0" algn="just">
              <a:lnSpc>
                <a:spcPct val="114000"/>
              </a:lnSpc>
              <a:spcBef>
                <a:spcPts val="2381"/>
              </a:spcBef>
              <a:buNone/>
            </a:pPr>
            <a:r>
              <a:rPr lang="uk-UA" sz="55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робки, напрацьовані у співпраці різних секторів, мають у майбутньому призвести до прийняття (органом місцевого самоврядування, а також господарськими та громадськими партнерами) спільних концептуальних, організаційних і фінансових рішень, спрямованих на комплексне використання ресурсів і можливостей для розвитку громади та нейтралізації бар'єрів для цього розвитку (ефект синергії).</a:t>
            </a:r>
            <a:endParaRPr lang="pl-PL" sz="5555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705" y="12811642"/>
            <a:ext cx="5644796" cy="499967"/>
          </a:xfrm>
          <a:prstGeom prst="rect">
            <a:avLst/>
          </a:prstGeom>
        </p:spPr>
      </p:pic>
      <p:sp>
        <p:nvSpPr>
          <p:cNvPr id="5" name="Google Shape;255;p3"/>
          <p:cNvSpPr txBox="1"/>
          <p:nvPr/>
        </p:nvSpPr>
        <p:spPr>
          <a:xfrm>
            <a:off x="8361935" y="12816193"/>
            <a:ext cx="7660130" cy="488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1859" tIns="120897" rIns="241859" bIns="120897" anchor="t" anchorCtr="0">
            <a:noAutofit/>
          </a:bodyPr>
          <a:lstStyle/>
          <a:p>
            <a:r>
              <a:rPr lang="en-US" sz="1587" b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РОЄКТ USAID «ГОВЕРЛА»</a:t>
            </a:r>
            <a:endParaRPr sz="7936" dirty="0"/>
          </a:p>
        </p:txBody>
      </p:sp>
      <p:pic>
        <p:nvPicPr>
          <p:cNvPr id="6" name="Obraz 1">
            <a:extLst>
              <a:ext uri="{FF2B5EF4-FFF2-40B4-BE49-F238E27FC236}">
                <a16:creationId xmlns:a16="http://schemas.microsoft.com/office/drawing/2014/main" id="{8670F8DD-21C8-418F-80F4-BAA62D10AD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7" name="Obraz 2">
            <a:extLst>
              <a:ext uri="{FF2B5EF4-FFF2-40B4-BE49-F238E27FC236}">
                <a16:creationId xmlns:a16="http://schemas.microsoft.com/office/drawing/2014/main" id="{934AD4B0-3604-44BD-8C75-56806678F5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8" name="Obraz 5">
            <a:extLst>
              <a:ext uri="{FF2B5EF4-FFF2-40B4-BE49-F238E27FC236}">
                <a16:creationId xmlns:a16="http://schemas.microsoft.com/office/drawing/2014/main" id="{0BA98FE6-4739-423F-992D-A96C181D55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826424"/>
      </p:ext>
    </p:extLst>
  </p:cSld>
  <p:clrMapOvr>
    <a:masterClrMapping/>
  </p:clrMapOvr>
  <p:transition spd="slow">
    <p:pull/>
  </p:transition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ole tekstowe 8"/>
          <p:cNvSpPr txBox="1"/>
          <p:nvPr/>
        </p:nvSpPr>
        <p:spPr>
          <a:xfrm>
            <a:off x="3969327" y="1240635"/>
            <a:ext cx="15918873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5867" dirty="0">
                <a:solidFill>
                  <a:srgbClr val="00006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 Neue Medium"/>
              </a:rPr>
              <a:t>ЧОМУ ГРОМАДІ ВАРТО МАТИ СТРАТЕГІЮ?</a:t>
            </a:r>
            <a:endParaRPr lang="pl-PL" sz="5867" dirty="0">
              <a:solidFill>
                <a:srgbClr val="000066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 Neue Medium"/>
            </a:endParaRPr>
          </a:p>
        </p:txBody>
      </p:sp>
      <p:cxnSp>
        <p:nvCxnSpPr>
          <p:cNvPr id="11" name="Łącznik prosty ze strzałką 10"/>
          <p:cNvCxnSpPr/>
          <p:nvPr/>
        </p:nvCxnSpPr>
        <p:spPr>
          <a:xfrm flipH="1">
            <a:off x="8159552" y="4745765"/>
            <a:ext cx="1152128" cy="2304256"/>
          </a:xfrm>
          <a:prstGeom prst="straightConnector1">
            <a:avLst/>
          </a:prstGeom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" name="Łącznik prosty ze strzałką 11"/>
          <p:cNvCxnSpPr/>
          <p:nvPr/>
        </p:nvCxnSpPr>
        <p:spPr>
          <a:xfrm>
            <a:off x="13536150" y="4745766"/>
            <a:ext cx="1344149" cy="2496277"/>
          </a:xfrm>
          <a:prstGeom prst="straightConnector1">
            <a:avLst/>
          </a:prstGeom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Łącznik prosty ze strzałką 13"/>
          <p:cNvCxnSpPr/>
          <p:nvPr/>
        </p:nvCxnSpPr>
        <p:spPr>
          <a:xfrm>
            <a:off x="8543595" y="9354277"/>
            <a:ext cx="1152128" cy="2112235"/>
          </a:xfrm>
          <a:prstGeom prst="straightConnector1">
            <a:avLst/>
          </a:prstGeom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Łącznik prosty ze strzałką 14"/>
          <p:cNvCxnSpPr>
            <a:cxnSpLocks/>
          </p:cNvCxnSpPr>
          <p:nvPr/>
        </p:nvCxnSpPr>
        <p:spPr>
          <a:xfrm flipH="1">
            <a:off x="13055338" y="9354277"/>
            <a:ext cx="1479812" cy="2112235"/>
          </a:xfrm>
          <a:prstGeom prst="straightConnector1">
            <a:avLst/>
          </a:prstGeom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6151" y="2195066"/>
            <a:ext cx="1624726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Font typeface="Arial" pitchFamily="34" charset="0"/>
              <a:buChar char="•"/>
            </a:pPr>
            <a:r>
              <a:rPr lang="uk-UA" sz="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керовує розвиток громади і забезпечує його сталість</a:t>
            </a:r>
          </a:p>
          <a:p>
            <a:pPr algn="ctr">
              <a:buFont typeface="Arial" pitchFamily="34" charset="0"/>
              <a:buChar char="•"/>
            </a:pPr>
            <a:r>
              <a:rPr lang="uk-UA" sz="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ідстава для подання заявок на фінансування</a:t>
            </a:r>
          </a:p>
          <a:p>
            <a:pPr algn="ctr">
              <a:buFont typeface="Arial" pitchFamily="34" charset="0"/>
              <a:buChar char="•"/>
            </a:pPr>
            <a:r>
              <a:rPr lang="uk-UA" sz="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безпечує інтеграцію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431088" y="11658535"/>
            <a:ext cx="825691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а для формування розвитку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847851" y="7242043"/>
            <a:ext cx="1142159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матеріальна (процеси: стратегічне планування + реалізація стратегії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51917" y="7269380"/>
            <a:ext cx="518457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теріальна (документ)</a:t>
            </a:r>
          </a:p>
        </p:txBody>
      </p:sp>
      <p:pic>
        <p:nvPicPr>
          <p:cNvPr id="16" name="Obraz 1">
            <a:extLst>
              <a:ext uri="{FF2B5EF4-FFF2-40B4-BE49-F238E27FC236}">
                <a16:creationId xmlns:a16="http://schemas.microsoft.com/office/drawing/2014/main" id="{8B674E9C-72E7-4F74-AE78-0E8C4979D2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17" name="Obraz 2">
            <a:extLst>
              <a:ext uri="{FF2B5EF4-FFF2-40B4-BE49-F238E27FC236}">
                <a16:creationId xmlns:a16="http://schemas.microsoft.com/office/drawing/2014/main" id="{34322908-D63C-4250-86CD-888431452A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19" name="Obraz 5">
            <a:extLst>
              <a:ext uri="{FF2B5EF4-FFF2-40B4-BE49-F238E27FC236}">
                <a16:creationId xmlns:a16="http://schemas.microsoft.com/office/drawing/2014/main" id="{4D83E3FE-7597-43DD-90CC-B915190D7F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05773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3" grpId="0"/>
      <p:bldP spid="1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F3982D-C860-A9FE-0D1A-0C72F7DA84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54B0E9B-64F9-8F4D-D0F8-333647985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400" y="1255206"/>
            <a:ext cx="14600809" cy="1221198"/>
          </a:xfrm>
        </p:spPr>
        <p:txBody>
          <a:bodyPr/>
          <a:lstStyle/>
          <a:p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ПОЛЬСЬКИЙ ДОСВІД</a:t>
            </a:r>
            <a:endParaRPr lang="pl-PL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6C0D14C-F064-1D5D-6516-E8938010B2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370" y="2856069"/>
            <a:ext cx="23056981" cy="10239493"/>
          </a:xfrm>
        </p:spPr>
        <p:txBody>
          <a:bodyPr>
            <a:noAutofit/>
          </a:bodyPr>
          <a:lstStyle/>
          <a:p>
            <a:pPr algn="just">
              <a:lnSpc>
                <a:spcPct val="114000"/>
              </a:lnSpc>
              <a:spcBef>
                <a:spcPts val="1200"/>
              </a:spcBef>
            </a:pPr>
            <a:r>
              <a:rPr lang="uk-UA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солідація системи управління розвитком країни – </a:t>
            </a: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меншення кількості та узгодженості планових документів на національному, регіональному та місцевому рівнях;</a:t>
            </a:r>
            <a:endParaRPr lang="pl-PL" sz="3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4000"/>
              </a:lnSpc>
              <a:spcBef>
                <a:spcPts val="1200"/>
              </a:spcBef>
            </a:pP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провадження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нтегрованої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делі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єднання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ціально-економічного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а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сторового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ування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у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атегії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є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діли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свячені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сторовим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итанням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атегія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тановлює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основу для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повідних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стобудівних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кументів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pl-PL" sz="3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4000"/>
              </a:lnSpc>
              <a:spcBef>
                <a:spcPts val="1200"/>
              </a:spcBef>
            </a:pP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ворення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и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ля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лого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витку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армонійне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єднання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ьох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акторів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витку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береження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о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вколишнього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редовища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безпечення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ціального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гресу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а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кономічного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ростання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–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ування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а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равління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витком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вдяки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ому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треби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инішнього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коління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жуть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бути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оволені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без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коди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ля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жливостей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йбутніх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колінь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овольнити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вої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треби</a:t>
            </a:r>
            <a:r>
              <a:rPr lang="pl-PL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just">
              <a:lnSpc>
                <a:spcPct val="114000"/>
              </a:lnSpc>
              <a:spcBef>
                <a:spcPts val="1200"/>
              </a:spcBef>
            </a:pP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явність стратегії як </a:t>
            </a:r>
            <a:r>
              <a:rPr lang="uk-UA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ов’язок, встановлений законом</a:t>
            </a: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уніципалітетів (з січня 2026 року, наразі більшість органів місцевого самоврядування вже мають стратегії), </a:t>
            </a:r>
            <a:r>
              <a:rPr lang="uk-UA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дурні вказівки </a:t>
            </a: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громадські консультації щодо стратегії, висновки щодо проєкту стратегії від влади регіонального рівня, попередня оцінка проєкту, стратегічна екологічна оцінка) та </a:t>
            </a:r>
            <a:r>
              <a:rPr lang="uk-UA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ичні рекомендації </a:t>
            </a: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висновки з діагностики стану громади, цілі та напрями діяльності, модель функціональної та просторової структури громади з вказанням керівних принципів для просторової політики територіальної громади, сфери стратегічного втручання, система впровадження, включаючи керівні принципи для виконавчих документів, фінансова структура із зазначенням потенційних джерел фінансування).</a:t>
            </a:r>
          </a:p>
          <a:p>
            <a:pPr algn="just">
              <a:lnSpc>
                <a:spcPct val="114000"/>
              </a:lnSpc>
              <a:spcBef>
                <a:spcPts val="1200"/>
              </a:spcBef>
            </a:pPr>
            <a:r>
              <a:rPr lang="uk-UA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нституційний та </a:t>
            </a:r>
            <a:r>
              <a:rPr lang="uk-UA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петентнісний</a:t>
            </a:r>
            <a:r>
              <a:rPr lang="uk-UA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розвиток адміністрації </a:t>
            </a: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риторіальних громад – у відповідь на </a:t>
            </a:r>
            <a:r>
              <a:rPr lang="uk-UA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инамічно</a:t>
            </a: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інливе середовище, постійно зростають вимоги та очікування мешканців і інших зацікавлених сторін щодо адміністрації</a:t>
            </a:r>
            <a:r>
              <a:rPr lang="pl-PL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just">
              <a:lnSpc>
                <a:spcPct val="114000"/>
              </a:lnSpc>
              <a:spcBef>
                <a:spcPts val="1200"/>
              </a:spcBef>
            </a:pP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ростання важливості </a:t>
            </a:r>
            <a:r>
              <a:rPr lang="uk-UA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івпраці</a:t>
            </a: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1) стратегія громади як документ усієї місцевої спільноти, партнерство також на етапі реалізації, 2) співпраця для вирішення спільних проблем або використання потрібних ресурсів і потенціалу, яка виходить за межі </a:t>
            </a:r>
            <a:r>
              <a:rPr lang="uk-UA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дмінстративних</a:t>
            </a:r>
            <a:r>
              <a:rPr lang="uk-UA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кордонів територіальної громади</a:t>
            </a:r>
            <a:r>
              <a:rPr lang="pl-PL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just">
              <a:lnSpc>
                <a:spcPct val="114000"/>
              </a:lnSpc>
              <a:spcBef>
                <a:spcPts val="1200"/>
              </a:spcBef>
            </a:pP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цент на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користання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ласних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сурсів</a:t>
            </a:r>
            <a:r>
              <a:rPr lang="ru-RU" sz="3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і </a:t>
            </a:r>
            <a:r>
              <a:rPr lang="ru-RU" sz="3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енціалу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незалежнення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овнішньої</a:t>
            </a:r>
            <a:r>
              <a:rPr lang="ru-RU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ідтримки</a:t>
            </a:r>
            <a:r>
              <a:rPr lang="pl-PL" sz="3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Obraz 1">
            <a:extLst>
              <a:ext uri="{FF2B5EF4-FFF2-40B4-BE49-F238E27FC236}">
                <a16:creationId xmlns:a16="http://schemas.microsoft.com/office/drawing/2014/main" id="{E2FBC77F-42B5-0B14-7CC1-1BC1BBBBA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7" name="Obraz 2">
            <a:extLst>
              <a:ext uri="{FF2B5EF4-FFF2-40B4-BE49-F238E27FC236}">
                <a16:creationId xmlns:a16="http://schemas.microsoft.com/office/drawing/2014/main" id="{07346593-D540-6A79-07FC-407352E5E7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8" name="Obraz 5">
            <a:extLst>
              <a:ext uri="{FF2B5EF4-FFF2-40B4-BE49-F238E27FC236}">
                <a16:creationId xmlns:a16="http://schemas.microsoft.com/office/drawing/2014/main" id="{8FA28E2F-2A8D-2A6F-BAFC-E09313E5D1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422527"/>
      </p:ext>
    </p:extLst>
  </p:cSld>
  <p:clrMapOvr>
    <a:masterClrMapping/>
  </p:clrMapOvr>
  <p:transition spd="slow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02D64D-1790-084F-E632-222FBEF9E8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D121F6E-CBAA-0329-4946-0FBF2B1DC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343" y="1761067"/>
            <a:ext cx="14903183" cy="1211986"/>
          </a:xfrm>
        </p:spPr>
        <p:txBody>
          <a:bodyPr>
            <a:normAutofit/>
          </a:bodyPr>
          <a:lstStyle/>
          <a:p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ОСНОВНА НОРМАТИВНА БАЗА В УКРАЇНІ</a:t>
            </a:r>
            <a:endParaRPr lang="pl-PL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794805F-AEAC-ABEA-9F12-E877FC8AFC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805" y="4381594"/>
            <a:ext cx="22729263" cy="7743349"/>
          </a:xfrm>
        </p:spPr>
        <p:txBody>
          <a:bodyPr>
            <a:noAutofit/>
          </a:bodyPr>
          <a:lstStyle/>
          <a:p>
            <a:pPr algn="just">
              <a:lnSpc>
                <a:spcPct val="110000"/>
              </a:lnSpc>
              <a:spcBef>
                <a:spcPts val="794"/>
              </a:spcBef>
            </a:pP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он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країни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«Про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сцеве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моврядування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uk-UA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pl-PL" sz="5291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0000"/>
              </a:lnSpc>
              <a:spcBef>
                <a:spcPts val="794"/>
              </a:spcBef>
            </a:pP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оном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країни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«Про засади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ржавної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гіональної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ітики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uk-UA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pl-PL" sz="5291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0000"/>
              </a:lnSpc>
              <a:spcBef>
                <a:spcPts val="794"/>
              </a:spcBef>
            </a:pPr>
            <a:r>
              <a:rPr lang="uk-UA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ичні рекомендації щодо порядку розроблення, затвердження, реалізації, проведення моніторингу та оцінювання реалізації стратегій розвитку територіальних громад, затверджені Наказом Міністерства розвитку громад та територій України від 21 грудня 2022 року № 265 ;</a:t>
            </a:r>
            <a:endParaRPr lang="pl-PL" sz="5291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0000"/>
              </a:lnSpc>
              <a:spcBef>
                <a:spcPts val="794"/>
              </a:spcBef>
            </a:pPr>
            <a:r>
              <a:rPr lang="uk-UA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розроблення, реалізації та моніторингу плану відновлення та розвитку регіонів і планів відновлення та розвитку територіальних громад затверджений Постановою КМУ від 18 липня 2023 р. № 731.;</a:t>
            </a:r>
          </a:p>
          <a:p>
            <a:pPr algn="just">
              <a:lnSpc>
                <a:spcPct val="110000"/>
              </a:lnSpc>
              <a:spcBef>
                <a:spcPts val="794"/>
              </a:spcBef>
            </a:pP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он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країни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«Про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ржавне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гнозування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а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роблення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грам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кономічного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і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ціального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витку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291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країни</a:t>
            </a:r>
            <a:r>
              <a:rPr lang="ru-RU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pl-PL" sz="529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pl-PL" sz="5291" dirty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142C98E-97CE-78EC-4EFE-E8D7BDF8E5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705" y="12811642"/>
            <a:ext cx="5644796" cy="499967"/>
          </a:xfrm>
          <a:prstGeom prst="rect">
            <a:avLst/>
          </a:prstGeom>
        </p:spPr>
      </p:pic>
      <p:sp>
        <p:nvSpPr>
          <p:cNvPr id="5" name="Google Shape;255;p3">
            <a:extLst>
              <a:ext uri="{FF2B5EF4-FFF2-40B4-BE49-F238E27FC236}">
                <a16:creationId xmlns:a16="http://schemas.microsoft.com/office/drawing/2014/main" id="{9D29ECBA-3B29-F7B8-DCEE-7293E1F7A6ED}"/>
              </a:ext>
            </a:extLst>
          </p:cNvPr>
          <p:cNvSpPr txBox="1"/>
          <p:nvPr/>
        </p:nvSpPr>
        <p:spPr>
          <a:xfrm>
            <a:off x="8361935" y="12816193"/>
            <a:ext cx="7660130" cy="488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1859" tIns="120897" rIns="241859" bIns="120897" anchor="t" anchorCtr="0">
            <a:noAutofit/>
          </a:bodyPr>
          <a:lstStyle/>
          <a:p>
            <a:r>
              <a:rPr lang="en-US" sz="1587" b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РОЄКТ USAID «ГОВЕРЛА»</a:t>
            </a:r>
            <a:endParaRPr sz="7936" dirty="0"/>
          </a:p>
        </p:txBody>
      </p:sp>
      <p:pic>
        <p:nvPicPr>
          <p:cNvPr id="6" name="Obraz 1">
            <a:extLst>
              <a:ext uri="{FF2B5EF4-FFF2-40B4-BE49-F238E27FC236}">
                <a16:creationId xmlns:a16="http://schemas.microsoft.com/office/drawing/2014/main" id="{AE9B0FEA-6858-B915-563C-B6A79A8783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7" name="Obraz 2">
            <a:extLst>
              <a:ext uri="{FF2B5EF4-FFF2-40B4-BE49-F238E27FC236}">
                <a16:creationId xmlns:a16="http://schemas.microsoft.com/office/drawing/2014/main" id="{3CAF12E7-15E9-2822-BE4F-1DCD426E1D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8" name="Obraz 5">
            <a:extLst>
              <a:ext uri="{FF2B5EF4-FFF2-40B4-BE49-F238E27FC236}">
                <a16:creationId xmlns:a16="http://schemas.microsoft.com/office/drawing/2014/main" id="{4C14C62F-072E-6B51-7874-62526FFB0B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4177"/>
      </p:ext>
    </p:extLst>
  </p:cSld>
  <p:clrMapOvr>
    <a:masterClrMapping/>
  </p:clrMapOvr>
  <p:transition spd="slow">
    <p:pull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0112" y="1684239"/>
            <a:ext cx="20863775" cy="1814244"/>
          </a:xfrm>
        </p:spPr>
        <p:txBody>
          <a:bodyPr>
            <a:noAutofit/>
          </a:bodyPr>
          <a:lstStyle/>
          <a:p>
            <a:r>
              <a:rPr lang="ru-RU" sz="5867" b="1" dirty="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ДЕРЖАВНА ПОЛІТИКА РЕГІОНАЛЬНОГО ТА МІСЦЕВОГО РОЗВИТКУ</a:t>
            </a:r>
            <a:endParaRPr lang="uk-UA" sz="5867" b="1" dirty="0">
              <a:solidFill>
                <a:srgbClr val="000066"/>
              </a:solidFill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grpSp>
        <p:nvGrpSpPr>
          <p:cNvPr id="4" name="Group 1"/>
          <p:cNvGrpSpPr>
            <a:grpSpLocks/>
          </p:cNvGrpSpPr>
          <p:nvPr/>
        </p:nvGrpSpPr>
        <p:grpSpPr bwMode="auto">
          <a:xfrm>
            <a:off x="3124199" y="4057649"/>
            <a:ext cx="20120077" cy="7799211"/>
            <a:chOff x="0" y="2"/>
            <a:chExt cx="8522618" cy="5567043"/>
          </a:xfrm>
        </p:grpSpPr>
        <p:sp>
          <p:nvSpPr>
            <p:cNvPr id="5" name="Oval 36"/>
            <p:cNvSpPr>
              <a:spLocks noChangeArrowheads="1"/>
            </p:cNvSpPr>
            <p:nvPr/>
          </p:nvSpPr>
          <p:spPr bwMode="auto">
            <a:xfrm>
              <a:off x="3696997" y="3609769"/>
              <a:ext cx="4825621" cy="1957276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38100" algn="ctr">
              <a:solidFill>
                <a:srgbClr val="009242">
                  <a:alpha val="38039"/>
                </a:srgbClr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uk-UA" altLang="uk-UA" sz="3571"/>
            </a:p>
          </p:txBody>
        </p:sp>
        <p:sp>
          <p:nvSpPr>
            <p:cNvPr id="6" name="Oval 3"/>
            <p:cNvSpPr>
              <a:spLocks noChangeArrowheads="1"/>
            </p:cNvSpPr>
            <p:nvPr/>
          </p:nvSpPr>
          <p:spPr bwMode="auto">
            <a:xfrm>
              <a:off x="3696997" y="1235004"/>
              <a:ext cx="4825621" cy="305735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38100" algn="ctr">
              <a:solidFill>
                <a:srgbClr val="0070C0">
                  <a:alpha val="25882"/>
                </a:srgbClr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uk-UA" altLang="uk-UA" sz="3571"/>
            </a:p>
          </p:txBody>
        </p:sp>
        <p:grpSp>
          <p:nvGrpSpPr>
            <p:cNvPr id="7" name="Group 2"/>
            <p:cNvGrpSpPr>
              <a:grpSpLocks/>
            </p:cNvGrpSpPr>
            <p:nvPr/>
          </p:nvGrpSpPr>
          <p:grpSpPr bwMode="auto">
            <a:xfrm>
              <a:off x="0" y="2"/>
              <a:ext cx="8194611" cy="5567041"/>
              <a:chOff x="0" y="0"/>
              <a:chExt cx="8195691" cy="5977728"/>
            </a:xfrm>
          </p:grpSpPr>
          <p:grpSp>
            <p:nvGrpSpPr>
              <p:cNvPr id="8" name="Group 25"/>
              <p:cNvGrpSpPr>
                <a:grpSpLocks/>
              </p:cNvGrpSpPr>
              <p:nvPr/>
            </p:nvGrpSpPr>
            <p:grpSpPr bwMode="auto">
              <a:xfrm>
                <a:off x="723327" y="697067"/>
                <a:ext cx="7472364" cy="5280661"/>
                <a:chOff x="723327" y="697067"/>
                <a:chExt cx="9104162" cy="6477171"/>
              </a:xfrm>
            </p:grpSpPr>
            <p:grpSp>
              <p:nvGrpSpPr>
                <p:cNvPr id="15" name="Group 31"/>
                <p:cNvGrpSpPr>
                  <a:grpSpLocks/>
                </p:cNvGrpSpPr>
                <p:nvPr/>
              </p:nvGrpSpPr>
              <p:grpSpPr bwMode="auto">
                <a:xfrm>
                  <a:off x="2913169" y="697067"/>
                  <a:ext cx="6914320" cy="6477171"/>
                  <a:chOff x="2913169" y="697067"/>
                  <a:chExt cx="6914320" cy="6477171"/>
                </a:xfrm>
              </p:grpSpPr>
              <p:sp>
                <p:nvSpPr>
                  <p:cNvPr id="19" name="Rectangle 41"/>
                  <p:cNvSpPr/>
                  <p:nvPr/>
                </p:nvSpPr>
                <p:spPr>
                  <a:xfrm>
                    <a:off x="5461755" y="697067"/>
                    <a:ext cx="1774374" cy="718459"/>
                  </a:xfrm>
                  <a:prstGeom prst="rect">
                    <a:avLst/>
                  </a:prstGeom>
                  <a:solidFill>
                    <a:srgbClr val="FFC000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1786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ПРОЕКТИ (без впливу на розвиток  регіонів)</a:t>
                    </a:r>
                    <a:endParaRPr lang="uk-UA" altLang="uk-UA" sz="1786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0" name="Rectangle 42"/>
                  <p:cNvSpPr/>
                  <p:nvPr/>
                </p:nvSpPr>
                <p:spPr>
                  <a:xfrm>
                    <a:off x="5439987" y="1537540"/>
                    <a:ext cx="1779816" cy="943780"/>
                  </a:xfrm>
                  <a:prstGeom prst="rect">
                    <a:avLst/>
                  </a:prstGeom>
                  <a:solidFill>
                    <a:srgbClr val="00B0F0">
                      <a:alpha val="84000"/>
                    </a:srgbClr>
                  </a:solidFill>
                  <a:ln w="31750" cap="flat" cmpd="sng" algn="ctr">
                    <a:solidFill>
                      <a:schemeClr val="bg1"/>
                    </a:solidFill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1786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ПРОЕКТИ (що мають вплив на розвиток  регіонів)</a:t>
                    </a:r>
                    <a:endParaRPr lang="uk-UA" altLang="uk-UA" sz="1786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1" name="Rectangle 43"/>
                  <p:cNvSpPr/>
                  <p:nvPr/>
                </p:nvSpPr>
                <p:spPr>
                  <a:xfrm>
                    <a:off x="2913169" y="713479"/>
                    <a:ext cx="1785258" cy="1807028"/>
                  </a:xfrm>
                  <a:prstGeom prst="rect">
                    <a:avLst/>
                  </a:prstGeom>
                  <a:solidFill>
                    <a:srgbClr val="FFC000">
                      <a:alpha val="86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Галузеві</a:t>
                    </a:r>
                    <a:b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</a:br>
                    <a: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ДЕРЖАВНІ </a:t>
                    </a:r>
                    <a:b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</a:br>
                    <a: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ЦІЛЬОВІ ПРОГРАМИ,</a:t>
                    </a:r>
                    <a:endParaRPr lang="uk-UA" altLang="uk-UA" sz="1984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algn="ctr" eaLnBrk="1" hangingPunct="1">
                      <a:defRPr/>
                    </a:pPr>
                    <a:b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</a:br>
                    <a: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БЮДЖЕТНІ ПРОГРАМИ</a:t>
                    </a:r>
                    <a:endParaRPr lang="uk-UA" altLang="uk-UA" sz="1984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2" name="Rectangle 44"/>
                  <p:cNvSpPr/>
                  <p:nvPr/>
                </p:nvSpPr>
                <p:spPr>
                  <a:xfrm>
                    <a:off x="2925146" y="2668695"/>
                    <a:ext cx="1785259" cy="2719278"/>
                  </a:xfrm>
                  <a:prstGeom prst="rect">
                    <a:avLst/>
                  </a:prstGeom>
                  <a:solidFill>
                    <a:srgbClr val="00B0F0">
                      <a:alpha val="88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2778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Times New Roman" panose="02020603050405020304" pitchFamily="18" charset="0"/>
                      </a:rPr>
                      <a:t>ПЛАН РЕАЛІЗАЦІЇ </a:t>
                    </a:r>
                    <a:br>
                      <a:rPr lang="uk-UA" altLang="uk-UA" sz="2778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Times New Roman" panose="02020603050405020304" pitchFamily="18" charset="0"/>
                      </a:rPr>
                    </a:br>
                    <a:r>
                      <a:rPr lang="uk-UA" altLang="uk-UA" sz="2778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Times New Roman" panose="02020603050405020304" pitchFamily="18" charset="0"/>
                      </a:rPr>
                      <a:t>ДСРР-2023</a:t>
                    </a:r>
                    <a:endParaRPr lang="uk-UA" altLang="uk-UA" sz="2778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algn="ctr" eaLnBrk="1" hangingPunct="1">
                      <a:defRPr/>
                    </a:pPr>
                    <a:r>
                      <a:rPr lang="uk-UA" altLang="uk-UA" sz="2778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Times New Roman" panose="02020603050405020304" pitchFamily="18" charset="0"/>
                      </a:rPr>
                      <a:t>(Програми 1,2,3)</a:t>
                    </a:r>
                    <a:endParaRPr lang="uk-UA" altLang="uk-UA" sz="2778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3" name="Rectangle 45"/>
                  <p:cNvSpPr/>
                  <p:nvPr/>
                </p:nvSpPr>
                <p:spPr>
                  <a:xfrm>
                    <a:off x="5433379" y="2668694"/>
                    <a:ext cx="1791867" cy="999652"/>
                  </a:xfrm>
                  <a:prstGeom prst="rect">
                    <a:avLst/>
                  </a:prstGeom>
                  <a:solidFill>
                    <a:srgbClr val="00B0F0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1786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ПРОЕКТИ</a:t>
                    </a:r>
                    <a:endParaRPr lang="uk-UA" altLang="uk-UA" sz="1786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algn="ctr" eaLnBrk="1" hangingPunct="1">
                      <a:defRPr/>
                    </a:pPr>
                    <a:r>
                      <a:rPr lang="uk-UA" altLang="uk-UA" sz="1786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ДЛЯ РЕАЛІЗАЦІЇ ЦІЛЕЙ 1 і 2 ДСРР</a:t>
                    </a:r>
                    <a:endParaRPr lang="uk-UA" altLang="uk-UA" sz="1786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4" name="Rectangle 46"/>
                  <p:cNvSpPr/>
                  <p:nvPr/>
                </p:nvSpPr>
                <p:spPr>
                  <a:xfrm>
                    <a:off x="5472590" y="4679855"/>
                    <a:ext cx="1785258" cy="801098"/>
                  </a:xfrm>
                  <a:prstGeom prst="rect">
                    <a:avLst/>
                  </a:prstGeom>
                  <a:solidFill>
                    <a:srgbClr val="00B0F0">
                      <a:alpha val="70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ПРОЕКТИ </a:t>
                    </a:r>
                    <a:endParaRPr lang="uk-UA" altLang="uk-UA" sz="1984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algn="ctr" eaLnBrk="1" hangingPunct="1">
                      <a:defRPr/>
                    </a:pPr>
                    <a: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цілі </a:t>
                    </a:r>
                    <a:r>
                      <a:rPr lang="ru-RU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1-</a:t>
                    </a:r>
                    <a: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2 (КОНКУРС)</a:t>
                    </a:r>
                    <a:endParaRPr lang="uk-UA" altLang="uk-UA" sz="1984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5" name="Rectangle 47"/>
                  <p:cNvSpPr/>
                  <p:nvPr/>
                </p:nvSpPr>
                <p:spPr>
                  <a:xfrm>
                    <a:off x="2929363" y="5529565"/>
                    <a:ext cx="1785257" cy="1644673"/>
                  </a:xfrm>
                  <a:prstGeom prst="rect">
                    <a:avLst/>
                  </a:prstGeom>
                  <a:solidFill>
                    <a:srgbClr val="92D050">
                      <a:alpha val="86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2778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Times New Roman" panose="02020603050405020304" pitchFamily="18" charset="0"/>
                      </a:rPr>
                      <a:t>ПЛАН реалізації 2021-2023</a:t>
                    </a:r>
                    <a:endParaRPr lang="uk-UA" altLang="uk-UA" sz="2778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6" name="Rectangle 48"/>
                  <p:cNvSpPr/>
                  <p:nvPr/>
                </p:nvSpPr>
                <p:spPr>
                  <a:xfrm>
                    <a:off x="5472589" y="5587594"/>
                    <a:ext cx="1747214" cy="1534374"/>
                  </a:xfrm>
                  <a:prstGeom prst="rect">
                    <a:avLst/>
                  </a:prstGeom>
                  <a:solidFill>
                    <a:srgbClr val="92D050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2778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Каталог регіональних проектів  </a:t>
                    </a:r>
                    <a:endParaRPr lang="uk-UA" altLang="uk-UA" sz="2778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7" name="Rectangle 50"/>
                  <p:cNvSpPr/>
                  <p:nvPr/>
                </p:nvSpPr>
                <p:spPr>
                  <a:xfrm>
                    <a:off x="8042231" y="5503463"/>
                    <a:ext cx="1785258" cy="1618505"/>
                  </a:xfrm>
                  <a:prstGeom prst="rect">
                    <a:avLst/>
                  </a:prstGeom>
                  <a:solidFill>
                    <a:srgbClr val="90CC53">
                      <a:alpha val="84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endParaRPr lang="uk-UA" altLang="uk-UA" sz="2381">
                      <a:solidFill>
                        <a:srgbClr val="000000"/>
                      </a:solidFill>
                      <a:latin typeface="PF Square Sans Pro" panose="02000506040000020004" pitchFamily="2" charset="0"/>
                      <a:cs typeface="Times New Roman" panose="02020603050405020304" pitchFamily="18" charset="0"/>
                    </a:endParaRPr>
                  </a:p>
                  <a:p>
                    <a:pPr algn="ctr" eaLnBrk="1" hangingPunct="1">
                      <a:defRPr/>
                    </a:pPr>
                    <a:r>
                      <a:rPr lang="uk-UA" altLang="uk-UA" sz="2381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ДЕРЖАВНИЙ ФОНД РЕГІОНАЛЬНОГО РОЗВИТКУ</a:t>
                    </a:r>
                    <a:endParaRPr lang="uk-UA" altLang="uk-UA" sz="2381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algn="ctr" eaLnBrk="1" hangingPunct="1">
                      <a:defRPr/>
                    </a:pPr>
                    <a:r>
                      <a:rPr lang="uk-UA" altLang="uk-UA" sz="1389"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 </a:t>
                    </a:r>
                    <a:endParaRPr lang="uk-UA" altLang="uk-UA" sz="1786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8" name="Rectangle 51"/>
                  <p:cNvSpPr/>
                  <p:nvPr/>
                </p:nvSpPr>
                <p:spPr>
                  <a:xfrm>
                    <a:off x="8016064" y="697068"/>
                    <a:ext cx="1785259" cy="1823438"/>
                  </a:xfrm>
                  <a:prstGeom prst="rect">
                    <a:avLst/>
                  </a:prstGeom>
                  <a:solidFill>
                    <a:srgbClr val="FFC000">
                      <a:alpha val="89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2381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ДЕРЖАВНИЙ БЮДЖЕТ</a:t>
                    </a:r>
                    <a:endParaRPr lang="uk-UA" altLang="uk-UA" sz="238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algn="ctr" eaLnBrk="1" hangingPunct="1">
                      <a:defRPr/>
                    </a:pPr>
                    <a:br>
                      <a:rPr lang="uk-UA" altLang="uk-UA" sz="1389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</a:br>
                    <a:endParaRPr lang="uk-UA" altLang="uk-UA" sz="1786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9" name="Rectangle 52"/>
                  <p:cNvSpPr/>
                  <p:nvPr/>
                </p:nvSpPr>
                <p:spPr>
                  <a:xfrm>
                    <a:off x="5456313" y="3760556"/>
                    <a:ext cx="1785258" cy="792371"/>
                  </a:xfrm>
                  <a:prstGeom prst="rect">
                    <a:avLst/>
                  </a:prstGeom>
                  <a:solidFill>
                    <a:srgbClr val="00B0F0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txBody>
                  <a:bodyPr lIns="102050" tIns="51028" rIns="102050" bIns="51028"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ЗАХОДИ </a:t>
                    </a:r>
                    <a:endParaRPr lang="uk-UA" altLang="uk-UA" sz="1984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algn="ctr" eaLnBrk="1" hangingPunct="1">
                      <a:defRPr/>
                    </a:pPr>
                    <a:r>
                      <a:rPr lang="uk-UA" altLang="uk-UA" sz="1984" dirty="0">
                        <a:solidFill>
                          <a:srgbClr val="000000"/>
                        </a:solidFill>
                        <a:latin typeface="PF Square Sans Pro" panose="02000506040000020004" pitchFamily="2" charset="0"/>
                        <a:cs typeface="Times New Roman" panose="02020603050405020304" pitchFamily="18" charset="0"/>
                      </a:rPr>
                      <a:t>цілі 3 ДСРР</a:t>
                    </a:r>
                    <a:endParaRPr lang="uk-UA" altLang="uk-UA" sz="1984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0" name="Right Brace 53"/>
                  <p:cNvSpPr/>
                  <p:nvPr/>
                </p:nvSpPr>
                <p:spPr>
                  <a:xfrm>
                    <a:off x="7331505" y="2649895"/>
                    <a:ext cx="726862" cy="2707768"/>
                  </a:xfrm>
                  <a:prstGeom prst="rightBrace">
                    <a:avLst>
                      <a:gd name="adj1" fmla="val 8333"/>
                      <a:gd name="adj2" fmla="val 29985"/>
                    </a:avLst>
                  </a:prstGeom>
                  <a:noFill/>
                  <a:ln w="19050" cap="flat" cmpd="sng" algn="ctr">
                    <a:solidFill>
                      <a:srgbClr val="0070C0"/>
                    </a:solidFill>
                    <a:prstDash val="solid"/>
                    <a:miter lim="800000"/>
                  </a:ln>
                  <a:effectLst/>
                </p:spPr>
                <p:txBody>
                  <a:bodyPr vert="vert270" lIns="102050" tIns="51028" rIns="102050" bIns="51028" anchor="ctr"/>
                  <a:lstStyle/>
                  <a:p>
                    <a:pPr algn="ctr">
                      <a:defRPr/>
                    </a:pPr>
                    <a:r>
                      <a:rPr lang="uk-UA" sz="1116" dirty="0"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a:t>ФІНАНСУВАННЯ</a:t>
                    </a:r>
                    <a:endParaRPr lang="uk-UA" sz="1786" dirty="0">
                      <a:latin typeface="Times New Roman" panose="02020603050405020304" pitchFamily="18" charset="0"/>
                      <a:ea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1" name="Right Brace 54"/>
                  <p:cNvSpPr/>
                  <p:nvPr/>
                </p:nvSpPr>
                <p:spPr>
                  <a:xfrm>
                    <a:off x="7241570" y="697067"/>
                    <a:ext cx="726862" cy="1807028"/>
                  </a:xfrm>
                  <a:prstGeom prst="rightBrace">
                    <a:avLst>
                      <a:gd name="adj1" fmla="val 8333"/>
                      <a:gd name="adj2" fmla="val 72493"/>
                    </a:avLst>
                  </a:prstGeom>
                  <a:noFill/>
                  <a:ln w="19050" cap="flat" cmpd="sng" algn="ctr">
                    <a:solidFill>
                      <a:srgbClr val="E88F52"/>
                    </a:solidFill>
                    <a:prstDash val="solid"/>
                    <a:miter lim="800000"/>
                  </a:ln>
                  <a:effectLst/>
                </p:spPr>
                <p:txBody>
                  <a:bodyPr vert="vert270" lIns="102050" tIns="51028" rIns="102050" bIns="51028" anchor="ctr"/>
                  <a:lstStyle/>
                  <a:p>
                    <a:pPr algn="ctr">
                      <a:defRPr/>
                    </a:pPr>
                    <a:r>
                      <a:rPr lang="uk-UA" sz="1116"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a:t>ФІНАНСУВАННЯ</a:t>
                    </a:r>
                    <a:endParaRPr lang="uk-UA" sz="1786">
                      <a:latin typeface="Times New Roman" panose="02020603050405020304" pitchFamily="18" charset="0"/>
                      <a:ea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2" name="Right Brace 55"/>
                  <p:cNvSpPr>
                    <a:spLocks/>
                  </p:cNvSpPr>
                  <p:nvPr/>
                </p:nvSpPr>
                <p:spPr bwMode="auto">
                  <a:xfrm rot="10800000">
                    <a:off x="4710873" y="697815"/>
                    <a:ext cx="728700" cy="2969837"/>
                  </a:xfrm>
                  <a:prstGeom prst="rightBrace">
                    <a:avLst>
                      <a:gd name="adj1" fmla="val 8340"/>
                      <a:gd name="adj2" fmla="val 54560"/>
                    </a:avLst>
                  </a:prstGeom>
                  <a:noFill/>
                  <a:ln w="19050" algn="ctr">
                    <a:solidFill>
                      <a:srgbClr val="E88F52">
                        <a:alpha val="78822"/>
                      </a:srgbClr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eaVert" lIns="102050" tIns="51028" rIns="102050" bIns="51028" anchor="ctr"/>
                  <a:lstStyle>
                    <a:lvl1pPr>
                      <a:spcBef>
                        <a:spcPct val="20000"/>
                      </a:spcBef>
                      <a:buChar char="•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spcBef>
                        <a:spcPct val="20000"/>
                      </a:spcBef>
                      <a:buChar char="–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spcBef>
                        <a:spcPct val="20000"/>
                      </a:spcBef>
                      <a:buChar char="•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FontTx/>
                      <a:buNone/>
                    </a:pPr>
                    <a:r>
                      <a:rPr lang="uk-UA" altLang="uk-UA" sz="119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Times New Roman" panose="02020603050405020304" pitchFamily="18" charset="0"/>
                      </a:rPr>
                      <a:t>РЕАЛІЗАЦІЯ</a:t>
                    </a:r>
                    <a:endParaRPr lang="uk-UA" altLang="uk-UA" sz="1786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3" name="Right Brace 56"/>
                  <p:cNvSpPr>
                    <a:spLocks/>
                  </p:cNvSpPr>
                  <p:nvPr/>
                </p:nvSpPr>
                <p:spPr bwMode="auto">
                  <a:xfrm rot="10800000">
                    <a:off x="4731758" y="1538383"/>
                    <a:ext cx="420048" cy="3855978"/>
                  </a:xfrm>
                  <a:prstGeom prst="rightBrace">
                    <a:avLst>
                      <a:gd name="adj1" fmla="val 8330"/>
                      <a:gd name="adj2" fmla="val 49606"/>
                    </a:avLst>
                  </a:prstGeom>
                  <a:noFill/>
                  <a:ln w="19050" algn="ctr">
                    <a:solidFill>
                      <a:srgbClr val="0070C0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eaVert" lIns="102050" tIns="51028" rIns="102050" bIns="51028" anchor="ctr"/>
                  <a:lstStyle>
                    <a:lvl1pPr>
                      <a:spcBef>
                        <a:spcPct val="20000"/>
                      </a:spcBef>
                      <a:buChar char="•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spcBef>
                        <a:spcPct val="20000"/>
                      </a:spcBef>
                      <a:buChar char="–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spcBef>
                        <a:spcPct val="20000"/>
                      </a:spcBef>
                      <a:buChar char="•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FontTx/>
                      <a:buNone/>
                    </a:pPr>
                    <a:r>
                      <a:rPr lang="uk-UA" altLang="uk-UA" sz="119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Times New Roman" panose="02020603050405020304" pitchFamily="18" charset="0"/>
                      </a:rPr>
                      <a:t>РЕАЛІЗАЦІЯ</a:t>
                    </a:r>
                    <a:endParaRPr lang="uk-UA" altLang="uk-UA" sz="1786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4" name="Right Brace 57"/>
                  <p:cNvSpPr>
                    <a:spLocks/>
                  </p:cNvSpPr>
                  <p:nvPr/>
                </p:nvSpPr>
                <p:spPr bwMode="auto">
                  <a:xfrm rot="10800000">
                    <a:off x="4731758" y="4647472"/>
                    <a:ext cx="726380" cy="2258393"/>
                  </a:xfrm>
                  <a:prstGeom prst="rightBrace">
                    <a:avLst>
                      <a:gd name="adj1" fmla="val 8334"/>
                      <a:gd name="adj2" fmla="val 30593"/>
                    </a:avLst>
                  </a:prstGeom>
                  <a:noFill/>
                  <a:ln w="19050" algn="ctr">
                    <a:solidFill>
                      <a:srgbClr val="009242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eaVert" lIns="102050" tIns="51028" rIns="102050" bIns="51028" anchor="ctr"/>
                  <a:lstStyle>
                    <a:lvl1pPr>
                      <a:spcBef>
                        <a:spcPct val="20000"/>
                      </a:spcBef>
                      <a:buChar char="•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spcBef>
                        <a:spcPct val="20000"/>
                      </a:spcBef>
                      <a:buChar char="–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spcBef>
                        <a:spcPct val="20000"/>
                      </a:spcBef>
                      <a:buChar char="•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FontTx/>
                      <a:buNone/>
                    </a:pPr>
                    <a:r>
                      <a:rPr lang="uk-UA" altLang="uk-UA" sz="119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Times New Roman" panose="02020603050405020304" pitchFamily="18" charset="0"/>
                      </a:rPr>
                      <a:t>РЕАЛІЗАЦІЯ</a:t>
                    </a:r>
                    <a:endParaRPr lang="uk-UA" altLang="uk-UA" sz="1786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sp>
              <p:nvSpPr>
                <p:cNvPr id="16" name="Rectangle 33"/>
                <p:cNvSpPr/>
                <p:nvPr/>
              </p:nvSpPr>
              <p:spPr>
                <a:xfrm>
                  <a:off x="723327" y="4645136"/>
                  <a:ext cx="1785257" cy="2529102"/>
                </a:xfrm>
                <a:prstGeom prst="rect">
                  <a:avLst/>
                </a:prstGeom>
                <a:solidFill>
                  <a:srgbClr val="92D050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lIns="102050" tIns="51028" rIns="102050" bIns="51028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uk-UA" altLang="uk-UA" sz="2778" dirty="0">
                      <a:solidFill>
                        <a:srgbClr val="000000"/>
                      </a:solidFill>
                      <a:latin typeface="PF Square Sans Pro" panose="02000506040000020004" pitchFamily="2" charset="0"/>
                      <a:cs typeface="Times New Roman" panose="02020603050405020304" pitchFamily="18" charset="0"/>
                    </a:rPr>
                    <a:t>СТРАТЕГІЯ РОЗВИТКУ</a:t>
                  </a:r>
                  <a:endParaRPr lang="uk-UA" altLang="uk-UA" sz="2778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algn="ctr" eaLnBrk="1" hangingPunct="1">
                    <a:defRPr/>
                  </a:pPr>
                  <a:r>
                    <a:rPr lang="uk-UA" altLang="uk-UA" sz="2778" dirty="0">
                      <a:solidFill>
                        <a:srgbClr val="000000"/>
                      </a:solidFill>
                      <a:latin typeface="PF Square Sans Pro" panose="02000506040000020004" pitchFamily="2" charset="0"/>
                      <a:cs typeface="Times New Roman" panose="02020603050405020304" pitchFamily="18" charset="0"/>
                    </a:rPr>
                    <a:t>ОБЛАСТІ 2027</a:t>
                  </a:r>
                  <a:endParaRPr lang="uk-UA" altLang="uk-UA" sz="2778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7" name="Rectangle 35"/>
                <p:cNvSpPr/>
                <p:nvPr/>
              </p:nvSpPr>
              <p:spPr>
                <a:xfrm>
                  <a:off x="743121" y="1537540"/>
                  <a:ext cx="1785258" cy="2995036"/>
                </a:xfrm>
                <a:prstGeom prst="rect">
                  <a:avLst/>
                </a:prstGeom>
                <a:solidFill>
                  <a:srgbClr val="00B0F0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lIns="102050" tIns="51028" rIns="102050" bIns="51028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uk-UA" altLang="uk-UA" sz="2381" dirty="0">
                      <a:solidFill>
                        <a:srgbClr val="000000"/>
                      </a:solidFill>
                      <a:latin typeface="PF Square Sans Pro" panose="02000506040000020004" pitchFamily="2" charset="0"/>
                      <a:cs typeface="Times New Roman" panose="02020603050405020304" pitchFamily="18" charset="0"/>
                    </a:rPr>
                    <a:t>ДЕРЖАВНА СТРАТЕГІЯ РЕГІОНАЛЬНОГО РОЗВИТКУ 2027</a:t>
                  </a:r>
                  <a:endParaRPr lang="uk-UA" altLang="uk-UA" sz="2381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8" name="Rectangle 38"/>
                <p:cNvSpPr/>
                <p:nvPr/>
              </p:nvSpPr>
              <p:spPr>
                <a:xfrm>
                  <a:off x="764480" y="713479"/>
                  <a:ext cx="1785258" cy="711502"/>
                </a:xfrm>
                <a:prstGeom prst="rect">
                  <a:avLst/>
                </a:prstGeom>
                <a:solidFill>
                  <a:srgbClr val="FFC000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lIns="102050" tIns="51028" rIns="102050" bIns="51028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uk-UA" altLang="uk-UA" sz="1984" dirty="0">
                      <a:solidFill>
                        <a:srgbClr val="000000"/>
                      </a:solidFill>
                      <a:latin typeface="PF Square Sans Pro" panose="02000506040000020004" pitchFamily="2" charset="0"/>
                      <a:cs typeface="Times New Roman" panose="02020603050405020304" pitchFamily="18" charset="0"/>
                    </a:rPr>
                    <a:t>Галузеві</a:t>
                  </a:r>
                  <a:br>
                    <a:rPr lang="uk-UA" altLang="uk-UA" sz="1984" dirty="0">
                      <a:solidFill>
                        <a:srgbClr val="000000"/>
                      </a:solidFill>
                      <a:latin typeface="PF Square Sans Pro" panose="02000506040000020004" pitchFamily="2" charset="0"/>
                      <a:cs typeface="Times New Roman" panose="02020603050405020304" pitchFamily="18" charset="0"/>
                    </a:rPr>
                  </a:br>
                  <a:r>
                    <a:rPr lang="uk-UA" altLang="uk-UA" sz="1984" dirty="0">
                      <a:solidFill>
                        <a:srgbClr val="000000"/>
                      </a:solidFill>
                      <a:latin typeface="PF Square Sans Pro" panose="02000506040000020004" pitchFamily="2" charset="0"/>
                      <a:cs typeface="Times New Roman" panose="02020603050405020304" pitchFamily="18" charset="0"/>
                    </a:rPr>
                    <a:t>СТРАТЕГІЇ РОЗВИТКУ</a:t>
                  </a:r>
                  <a:endParaRPr lang="uk-UA" altLang="uk-UA" sz="1984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9" name="Rectangle 26"/>
              <p:cNvSpPr/>
              <p:nvPr/>
            </p:nvSpPr>
            <p:spPr bwMode="auto">
              <a:xfrm>
                <a:off x="6708938" y="2289154"/>
                <a:ext cx="1465275" cy="2207570"/>
              </a:xfrm>
              <a:prstGeom prst="rect">
                <a:avLst/>
              </a:prstGeom>
              <a:solidFill>
                <a:srgbClr val="00B0F0">
                  <a:alpha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lIns="102050" tIns="51028" rIns="102050" bIns="51028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defRPr/>
                </a:pPr>
                <a:endParaRPr lang="uk-UA" altLang="uk-UA" sz="1984" dirty="0">
                  <a:solidFill>
                    <a:srgbClr val="000000"/>
                  </a:solidFill>
                  <a:latin typeface="PF Square Sans Pro" panose="02000506040000020004" pitchFamily="2" charset="0"/>
                  <a:cs typeface="Times New Roman" panose="02020603050405020304" pitchFamily="18" charset="0"/>
                </a:endParaRPr>
              </a:p>
              <a:p>
                <a:pPr algn="ctr" eaLnBrk="1" hangingPunct="1">
                  <a:defRPr/>
                </a:pPr>
                <a:r>
                  <a:rPr lang="uk-UA" altLang="uk-UA" sz="1984" dirty="0">
                    <a:solidFill>
                      <a:srgbClr val="000000"/>
                    </a:solidFill>
                    <a:latin typeface="PF Square Sans Pro" panose="02000506040000020004" pitchFamily="2" charset="0"/>
                    <a:cs typeface="Times New Roman" panose="02020603050405020304" pitchFamily="18" charset="0"/>
                  </a:rPr>
                  <a:t>ДЕРЖАВНИЙ БЮДЖЕТ</a:t>
                </a:r>
                <a:endParaRPr lang="uk-UA" altLang="uk-UA" sz="1984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 eaLnBrk="1" hangingPunct="1">
                  <a:defRPr/>
                </a:pPr>
                <a:r>
                  <a:rPr lang="uk-UA" altLang="uk-UA" sz="1984" dirty="0">
                    <a:solidFill>
                      <a:srgbClr val="000000"/>
                    </a:solidFill>
                    <a:latin typeface="PF Square Sans Pro" panose="02000506040000020004" pitchFamily="2" charset="0"/>
                    <a:cs typeface="Times New Roman" panose="02020603050405020304" pitchFamily="18" charset="0"/>
                  </a:rPr>
                  <a:t>БЮДЖЕТНА ПРОГРАМА «План реалізації Державної стратегії регіонального розвитку України до 2027 року»</a:t>
                </a:r>
                <a:endParaRPr lang="uk-UA" altLang="uk-UA" sz="1984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 eaLnBrk="1" hangingPunct="1">
                  <a:defRPr/>
                </a:pPr>
                <a:r>
                  <a:rPr lang="uk-UA" altLang="uk-UA" sz="1984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10" name="Right Brace 27"/>
              <p:cNvSpPr/>
              <p:nvPr/>
            </p:nvSpPr>
            <p:spPr bwMode="auto">
              <a:xfrm>
                <a:off x="6133833" y="4636872"/>
                <a:ext cx="596582" cy="1095473"/>
              </a:xfrm>
              <a:prstGeom prst="rightBrace">
                <a:avLst/>
              </a:prstGeom>
              <a:noFill/>
              <a:ln w="19050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  <p:txBody>
              <a:bodyPr vert="vert270" lIns="102050" tIns="51028" rIns="102050" bIns="51028" anchor="ctr"/>
              <a:lstStyle/>
              <a:p>
                <a:pPr algn="ctr">
                  <a:defRPr/>
                </a:pPr>
                <a:r>
                  <a:rPr lang="uk-UA" sz="1116"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ФІНАНСУВАННЯ</a:t>
                </a:r>
                <a:endParaRPr lang="uk-UA" sz="1786"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1" name="Snip Same Side Corner Rectangle 29"/>
              <p:cNvSpPr/>
              <p:nvPr/>
            </p:nvSpPr>
            <p:spPr bwMode="auto">
              <a:xfrm>
                <a:off x="0" y="828"/>
                <a:ext cx="2222379" cy="580068"/>
              </a:xfrm>
              <a:prstGeom prst="snip2Same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lIns="102050" tIns="51028" rIns="102050" bIns="51028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uk-UA" altLang="uk-UA" sz="1984" dirty="0">
                    <a:solidFill>
                      <a:srgbClr val="000000"/>
                    </a:solidFill>
                    <a:latin typeface="PF Square Sans Pro" panose="02000506040000020004" pitchFamily="2" charset="0"/>
                    <a:cs typeface="Times New Roman" panose="02020603050405020304" pitchFamily="18" charset="0"/>
                  </a:rPr>
                  <a:t>СТРАТЕГІЧНІ ПЛАНУВАЛЬНІ ДОКУМЕНТИ РОЗВИТКУ</a:t>
                </a:r>
                <a:endParaRPr lang="uk-UA" altLang="uk-UA" sz="1984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Snip Same Side Corner Rectangle 30"/>
              <p:cNvSpPr/>
              <p:nvPr/>
            </p:nvSpPr>
            <p:spPr bwMode="auto">
              <a:xfrm>
                <a:off x="2520669" y="9565"/>
                <a:ext cx="1465274" cy="580068"/>
              </a:xfrm>
              <a:prstGeom prst="snip2Same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lIns="102050" tIns="51028" rIns="102050" bIns="51028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uk-UA" altLang="uk-UA" sz="2381" dirty="0">
                    <a:solidFill>
                      <a:srgbClr val="000000"/>
                    </a:solidFill>
                    <a:latin typeface="PF Square Sans Pro" panose="02000506040000020004" pitchFamily="2" charset="0"/>
                    <a:cs typeface="Times New Roman" panose="02020603050405020304" pitchFamily="18" charset="0"/>
                  </a:rPr>
                  <a:t>ПЛАНИ РЕАЛІЗАЦІЇ </a:t>
                </a:r>
                <a:endParaRPr lang="uk-UA" altLang="uk-UA" sz="238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 eaLnBrk="1" hangingPunct="1">
                  <a:defRPr/>
                </a:pPr>
                <a:r>
                  <a:rPr lang="uk-UA" altLang="uk-UA" sz="1786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13" name="Snip Same Side Corner Rectangle 31"/>
              <p:cNvSpPr/>
              <p:nvPr/>
            </p:nvSpPr>
            <p:spPr bwMode="auto">
              <a:xfrm>
                <a:off x="4589165" y="0"/>
                <a:ext cx="1624289" cy="580068"/>
              </a:xfrm>
              <a:prstGeom prst="snip2Same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lIns="102050" tIns="51028" rIns="102050" bIns="51028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uk-UA" altLang="uk-UA" sz="2381" dirty="0">
                    <a:solidFill>
                      <a:srgbClr val="000000"/>
                    </a:solidFill>
                    <a:latin typeface="PF Square Sans Pro" panose="02000506040000020004" pitchFamily="2" charset="0"/>
                    <a:cs typeface="Times New Roman" panose="02020603050405020304" pitchFamily="18" charset="0"/>
                  </a:rPr>
                  <a:t>Складові ПЛАНІВ РЕАЛІЗАЦІЇ </a:t>
                </a:r>
                <a:endParaRPr lang="uk-UA" altLang="uk-UA" sz="238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" name="Snip Same Side Corner Rectangle 32"/>
              <p:cNvSpPr/>
              <p:nvPr/>
            </p:nvSpPr>
            <p:spPr bwMode="auto">
              <a:xfrm>
                <a:off x="6708938" y="0"/>
                <a:ext cx="1465274" cy="580068"/>
              </a:xfrm>
              <a:prstGeom prst="snip2Same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lIns="102050" tIns="51028" rIns="102050" bIns="51028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uk-UA" altLang="uk-UA" sz="2381" dirty="0">
                    <a:solidFill>
                      <a:srgbClr val="000000"/>
                    </a:solidFill>
                    <a:latin typeface="PF Square Sans Pro" panose="02000506040000020004" pitchFamily="2" charset="0"/>
                    <a:cs typeface="Times New Roman" panose="02020603050405020304" pitchFamily="18" charset="0"/>
                  </a:rPr>
                  <a:t>ДЖЕРЕЛА ФІНАНСУВАННЯ</a:t>
                </a:r>
                <a:endParaRPr lang="uk-UA" altLang="uk-UA" sz="238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37" name="Rectangle 47"/>
          <p:cNvSpPr/>
          <p:nvPr/>
        </p:nvSpPr>
        <p:spPr bwMode="auto">
          <a:xfrm>
            <a:off x="4891641" y="12171925"/>
            <a:ext cx="3379012" cy="1131922"/>
          </a:xfrm>
          <a:prstGeom prst="rect">
            <a:avLst/>
          </a:prstGeom>
          <a:solidFill>
            <a:srgbClr val="00B0F0">
              <a:alpha val="86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02050" tIns="51028" rIns="102050" bIns="5102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uk-UA" altLang="uk-UA" sz="2778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ТРАТЕГІЯ</a:t>
            </a:r>
          </a:p>
          <a:p>
            <a:pPr algn="ctr" eaLnBrk="1" hangingPunct="1">
              <a:defRPr/>
            </a:pPr>
            <a:r>
              <a:rPr lang="uk-UA" altLang="uk-UA" sz="2778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Громади</a:t>
            </a:r>
            <a:endParaRPr lang="uk-UA" altLang="uk-UA" sz="2778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Rectangle 47"/>
          <p:cNvSpPr/>
          <p:nvPr/>
        </p:nvSpPr>
        <p:spPr bwMode="auto">
          <a:xfrm>
            <a:off x="9160179" y="12190279"/>
            <a:ext cx="3435538" cy="1145540"/>
          </a:xfrm>
          <a:prstGeom prst="rect">
            <a:avLst/>
          </a:prstGeom>
          <a:solidFill>
            <a:srgbClr val="00B0F0">
              <a:alpha val="86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02050" tIns="51028" rIns="102050" bIns="5102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uk-UA" altLang="uk-UA" sz="2778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ЛАН  РЕАЛІЗАЦІЇ СТРАТЕГІЇ Громади</a:t>
            </a:r>
            <a:endParaRPr lang="uk-UA" altLang="uk-UA" sz="2778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Rectangle 46"/>
          <p:cNvSpPr/>
          <p:nvPr/>
        </p:nvSpPr>
        <p:spPr bwMode="auto">
          <a:xfrm>
            <a:off x="14088918" y="12188766"/>
            <a:ext cx="3385039" cy="1135863"/>
          </a:xfrm>
          <a:prstGeom prst="rect">
            <a:avLst/>
          </a:prstGeom>
          <a:solidFill>
            <a:srgbClr val="00B0F0">
              <a:alpha val="70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02050" tIns="51028" rIns="102050" bIns="5102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uk-UA" altLang="uk-UA" sz="2778" dirty="0">
                <a:solidFill>
                  <a:schemeClr val="bg1"/>
                </a:solidFill>
                <a:latin typeface="PF Square Sans Pro" panose="02000506040000020004" pitchFamily="2" charset="0"/>
                <a:cs typeface="Times New Roman" panose="02020603050405020304" pitchFamily="18" charset="0"/>
              </a:rPr>
              <a:t>ПЛАН СЕР</a:t>
            </a:r>
            <a:endParaRPr lang="uk-UA" altLang="uk-UA" sz="2778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Rectangle 46"/>
          <p:cNvSpPr/>
          <p:nvPr/>
        </p:nvSpPr>
        <p:spPr bwMode="auto">
          <a:xfrm>
            <a:off x="18985649" y="12147198"/>
            <a:ext cx="3376781" cy="1156648"/>
          </a:xfrm>
          <a:prstGeom prst="rect">
            <a:avLst/>
          </a:prstGeom>
          <a:solidFill>
            <a:srgbClr val="FF0000">
              <a:alpha val="70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02050" tIns="51028" rIns="102050" bIns="5102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uk-UA" altLang="uk-UA" sz="2778" dirty="0">
                <a:solidFill>
                  <a:schemeClr val="bg1"/>
                </a:solidFill>
                <a:latin typeface="PF Square Sans Pro" panose="02000506040000020004" pitchFamily="2" charset="0"/>
                <a:cs typeface="Times New Roman" panose="02020603050405020304" pitchFamily="18" charset="0"/>
              </a:rPr>
              <a:t>Проект Громади</a:t>
            </a:r>
            <a:endParaRPr lang="uk-UA" altLang="uk-UA" sz="2778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705" y="12811642"/>
            <a:ext cx="5644796" cy="499967"/>
          </a:xfrm>
          <a:prstGeom prst="rect">
            <a:avLst/>
          </a:prstGeom>
        </p:spPr>
      </p:pic>
      <p:pic>
        <p:nvPicPr>
          <p:cNvPr id="41" name="Obraz 1">
            <a:extLst>
              <a:ext uri="{FF2B5EF4-FFF2-40B4-BE49-F238E27FC236}">
                <a16:creationId xmlns:a16="http://schemas.microsoft.com/office/drawing/2014/main" id="{91A52AF2-7C0B-46E8-A57A-D9C3547758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513"/>
            <a:ext cx="4229100" cy="1630905"/>
          </a:xfrm>
          <a:prstGeom prst="rect">
            <a:avLst/>
          </a:prstGeom>
        </p:spPr>
      </p:pic>
      <p:pic>
        <p:nvPicPr>
          <p:cNvPr id="42" name="Obraz 2">
            <a:extLst>
              <a:ext uri="{FF2B5EF4-FFF2-40B4-BE49-F238E27FC236}">
                <a16:creationId xmlns:a16="http://schemas.microsoft.com/office/drawing/2014/main" id="{897D0283-6254-40B6-813C-4EB2016D20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23052" y="373085"/>
            <a:ext cx="3574272" cy="1191425"/>
          </a:xfrm>
          <a:prstGeom prst="rect">
            <a:avLst/>
          </a:prstGeom>
        </p:spPr>
      </p:pic>
      <p:pic>
        <p:nvPicPr>
          <p:cNvPr id="43" name="Obraz 5">
            <a:extLst>
              <a:ext uri="{FF2B5EF4-FFF2-40B4-BE49-F238E27FC236}">
                <a16:creationId xmlns:a16="http://schemas.microsoft.com/office/drawing/2014/main" id="{45FA85CB-9D9D-4804-A622-696FDF5093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61085" y="-6799"/>
            <a:ext cx="2817774" cy="15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37836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2116_ xmlns="303901ef-6a22-4e55-9c80-e90043720da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E52C018618B41A7229444032E1263" ma:contentTypeVersion="16" ma:contentTypeDescription="Create a new document." ma:contentTypeScope="" ma:versionID="102dde26d99944ab261690ad3f791513">
  <xsd:schema xmlns:xsd="http://www.w3.org/2001/XMLSchema" xmlns:xs="http://www.w3.org/2001/XMLSchema" xmlns:p="http://schemas.microsoft.com/office/2006/metadata/properties" xmlns:ns2="d41abd27-83e6-4a63-9017-5368a0c1b478" xmlns:ns3="303901ef-6a22-4e55-9c80-e90043720daf" targetNamespace="http://schemas.microsoft.com/office/2006/metadata/properties" ma:root="true" ma:fieldsID="a63769dce104decd316b0cf31f568236" ns2:_="" ns3:_="">
    <xsd:import namespace="d41abd27-83e6-4a63-9017-5368a0c1b478"/>
    <xsd:import namespace="303901ef-6a22-4e55-9c80-e90043720da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_x2116_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1abd27-83e6-4a63-9017-5368a0c1b47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3901ef-6a22-4e55-9c80-e90043720daf" elementFormDefault="qualified">
    <xsd:import namespace="http://schemas.microsoft.com/office/2006/documentManagement/types"/>
    <xsd:import namespace="http://schemas.microsoft.com/office/infopath/2007/PartnerControls"/>
    <xsd:element name="_x2116_" ma:index="12" nillable="true" ma:displayName="№" ma:internalName="_x2116_">
      <xsd:simpleType>
        <xsd:restriction base="dms:Number"/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B248B6-A383-49D4-806B-B1E13D3D5BC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0FB350B-5BB0-4149-AACA-FF592CEEF01C}">
  <ds:schemaRefs>
    <ds:schemaRef ds:uri="http://purl.org/dc/terms/"/>
    <ds:schemaRef ds:uri="303901ef-6a22-4e55-9c80-e90043720daf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d41abd27-83e6-4a63-9017-5368a0c1b47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D55BDF1-BD1B-4DAA-82B7-E05EB9E795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1abd27-83e6-4a63-9017-5368a0c1b478"/>
    <ds:schemaRef ds:uri="303901ef-6a22-4e55-9c80-e90043720d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16</TotalTime>
  <Words>1615</Words>
  <Application>Microsoft Office PowerPoint</Application>
  <PresentationFormat>Довільний</PresentationFormat>
  <Paragraphs>188</Paragraphs>
  <Slides>20</Slides>
  <Notes>8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10</vt:i4>
      </vt:variant>
      <vt:variant>
        <vt:lpstr>Тема</vt:lpstr>
      </vt:variant>
      <vt:variant>
        <vt:i4>2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20</vt:i4>
      </vt:variant>
    </vt:vector>
  </HeadingPairs>
  <TitlesOfParts>
    <vt:vector size="33" baseType="lpstr">
      <vt:lpstr>Arial</vt:lpstr>
      <vt:lpstr>Calibri</vt:lpstr>
      <vt:lpstr>Calibri Light</vt:lpstr>
      <vt:lpstr>Candara</vt:lpstr>
      <vt:lpstr>Helvetica Neue</vt:lpstr>
      <vt:lpstr>Helvetica Neue Light</vt:lpstr>
      <vt:lpstr>Helvetica Neue Medium</vt:lpstr>
      <vt:lpstr>PF Square Sans Pro</vt:lpstr>
      <vt:lpstr>Times New Roman</vt:lpstr>
      <vt:lpstr>Wingdings</vt:lpstr>
      <vt:lpstr>White</vt:lpstr>
      <vt:lpstr>Office Theme</vt:lpstr>
      <vt:lpstr>think-cell Slide</vt:lpstr>
      <vt:lpstr> </vt:lpstr>
      <vt:lpstr>         Зустріч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Global Communities) та фінансується Агентством США з міжнародного розвитку (USAID).   </vt:lpstr>
      <vt:lpstr>СТРАТЕГІЯ РОЗВИТКУ - ЦЕ</vt:lpstr>
      <vt:lpstr>РІЗНІ МОДЕЛІ РОБОТИ НАД СТРАТЕГІЄЮ</vt:lpstr>
      <vt:lpstr>СТРАТЕГІЯ РОЗВИТКУ ПОВИННА</vt:lpstr>
      <vt:lpstr>Презентація PowerPoint</vt:lpstr>
      <vt:lpstr>ПОЛЬСЬКИЙ ДОСВІД</vt:lpstr>
      <vt:lpstr>ОСНОВНА НОРМАТИВНА БАЗА В УКРАЇНІ</vt:lpstr>
      <vt:lpstr>ДЕРЖАВНА ПОЛІТИКА РЕГІОНАЛЬНОГО ТА МІСЦЕВОГО РОЗВИТКУ</vt:lpstr>
      <vt:lpstr>ЕТАПИ ПРОЦЕСУ СТРАТЕГІЧНОГО УПРАВЛІННЯ</vt:lpstr>
      <vt:lpstr>РАМКОВА СТРУКТУРА СТРАТЕГІЇ</vt:lpstr>
      <vt:lpstr>СИСТЕМА ДЛЯ ОЦІНЮВАННЯ СТРАТЕГІЙ МІСЦЕВОГО РОЗВИТКУ ТГ </vt:lpstr>
      <vt:lpstr>МЕТОДИКА ОЦІНЮВАННЯ СТРАТЕГІЙ</vt:lpstr>
      <vt:lpstr>ЗАЛУЧЕННЯ ПАРТНЕРСТВ</vt:lpstr>
      <vt:lpstr>ЗАЛУЧЕННЯ БІЗНЕС-СЕРЕДОВИЩА</vt:lpstr>
      <vt:lpstr>КРИТЕРІЇ ОЦІНЮВАННЯ ПРОЄКТІВ</vt:lpstr>
      <vt:lpstr>РОЛЬ КОНСУЛЬТАНТІВ</vt:lpstr>
      <vt:lpstr>ІДЕНТИФІКАЦІЯ ЛЮДЕЙ ДЛЯ РОБОЧОЇ ГРУПИ З РОЗРОБКИ СТРАТЕГІЇ</vt:lpstr>
      <vt:lpstr>ДЯКУЄМО ЗА УВАГУ!</vt:lpstr>
      <vt:lpstr>                 Програма USAID DOBRE у Фейсбук: https://www.facebook.com/decentralizationisdobre  Програма DOBRE на сайті Українського кризового медіа центру: http://ucmc.org.ua/uk/decentralization/#news  Програма DOBRE на сайті Децентралізація: https://decentralization.gov.ua/news/tag/ekspertno-dobre  DOBRE Практики Youtube канал: https://www.youtube.com/channel/UCnktaySHbi92021PSzOgeBA/video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.</dc:title>
  <dc:creator>Oleksandr Muratov</dc:creator>
  <cp:lastModifiedBy>MO_note1</cp:lastModifiedBy>
  <cp:revision>536</cp:revision>
  <dcterms:modified xsi:type="dcterms:W3CDTF">2024-02-09T09:0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E52C018618B41A7229444032E1263</vt:lpwstr>
  </property>
</Properties>
</file>